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2.xml" ContentType="application/vnd.openxmlformats-officedocument.drawingml.chartshapes+xml"/>
  <Override PartName="/ppt/notesSlides/notesSlide25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3.xml" ContentType="application/vnd.openxmlformats-officedocument.drawingml.chartshapes+xml"/>
  <Override PartName="/ppt/notesSlides/notesSlide26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27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28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29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30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notesSlides/notesSlide31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5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notesSlides/notesSlide36.xml" ContentType="application/vnd.openxmlformats-officedocument.presentationml.notesSlid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notesSlides/notesSlide37.xml" ContentType="application/vnd.openxmlformats-officedocument.presentationml.notesSlid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notesSlides/notesSlide38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808" r:id="rId4"/>
  </p:sldMasterIdLst>
  <p:notesMasterIdLst>
    <p:notesMasterId r:id="rId67"/>
  </p:notesMasterIdLst>
  <p:handoutMasterIdLst>
    <p:handoutMasterId r:id="rId68"/>
  </p:handoutMasterIdLst>
  <p:sldIdLst>
    <p:sldId id="717" r:id="rId5"/>
    <p:sldId id="759" r:id="rId6"/>
    <p:sldId id="758" r:id="rId7"/>
    <p:sldId id="760" r:id="rId8"/>
    <p:sldId id="765" r:id="rId9"/>
    <p:sldId id="766" r:id="rId10"/>
    <p:sldId id="270" r:id="rId11"/>
    <p:sldId id="625" r:id="rId12"/>
    <p:sldId id="719" r:id="rId13"/>
    <p:sldId id="720" r:id="rId14"/>
    <p:sldId id="721" r:id="rId15"/>
    <p:sldId id="738" r:id="rId16"/>
    <p:sldId id="722" r:id="rId17"/>
    <p:sldId id="727" r:id="rId18"/>
    <p:sldId id="321" r:id="rId19"/>
    <p:sldId id="751" r:id="rId20"/>
    <p:sldId id="752" r:id="rId21"/>
    <p:sldId id="740" r:id="rId22"/>
    <p:sldId id="741" r:id="rId23"/>
    <p:sldId id="742" r:id="rId24"/>
    <p:sldId id="743" r:id="rId25"/>
    <p:sldId id="744" r:id="rId26"/>
    <p:sldId id="745" r:id="rId27"/>
    <p:sldId id="746" r:id="rId28"/>
    <p:sldId id="747" r:id="rId29"/>
    <p:sldId id="761" r:id="rId30"/>
    <p:sldId id="762" r:id="rId31"/>
    <p:sldId id="274" r:id="rId32"/>
    <p:sldId id="750" r:id="rId33"/>
    <p:sldId id="749" r:id="rId34"/>
    <p:sldId id="620" r:id="rId35"/>
    <p:sldId id="616" r:id="rId36"/>
    <p:sldId id="667" r:id="rId37"/>
    <p:sldId id="668" r:id="rId38"/>
    <p:sldId id="621" r:id="rId39"/>
    <p:sldId id="731" r:id="rId40"/>
    <p:sldId id="732" r:id="rId41"/>
    <p:sldId id="733" r:id="rId42"/>
    <p:sldId id="670" r:id="rId43"/>
    <p:sldId id="278" r:id="rId44"/>
    <p:sldId id="730" r:id="rId45"/>
    <p:sldId id="725" r:id="rId46"/>
    <p:sldId id="756" r:id="rId47"/>
    <p:sldId id="726" r:id="rId48"/>
    <p:sldId id="757" r:id="rId49"/>
    <p:sldId id="723" r:id="rId50"/>
    <p:sldId id="724" r:id="rId51"/>
    <p:sldId id="715" r:id="rId52"/>
    <p:sldId id="295" r:id="rId53"/>
    <p:sldId id="301" r:id="rId54"/>
    <p:sldId id="264" r:id="rId55"/>
    <p:sldId id="294" r:id="rId56"/>
    <p:sldId id="292" r:id="rId57"/>
    <p:sldId id="293" r:id="rId58"/>
    <p:sldId id="684" r:id="rId59"/>
    <p:sldId id="298" r:id="rId60"/>
    <p:sldId id="272" r:id="rId61"/>
    <p:sldId id="716" r:id="rId62"/>
    <p:sldId id="629" r:id="rId63"/>
    <p:sldId id="288" r:id="rId64"/>
    <p:sldId id="753" r:id="rId65"/>
    <p:sldId id="754" r:id="rId66"/>
  </p:sldIdLst>
  <p:sldSz cx="12192000" cy="6858000"/>
  <p:notesSz cx="6858000" cy="9144000"/>
  <p:custDataLst>
    <p:tags r:id="rId6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3" orient="horz" pos="2432" userDrawn="1">
          <p15:clr>
            <a:srgbClr val="A4A3A4"/>
          </p15:clr>
        </p15:guide>
        <p15:guide id="14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Автор" initials="A" lastIdx="0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  <a:srgbClr val="2A388A"/>
    <a:srgbClr val="B0B8E4"/>
    <a:srgbClr val="BDBDBD"/>
    <a:srgbClr val="3F51B5"/>
    <a:srgbClr val="0090A2"/>
    <a:srgbClr val="40404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778" autoAdjust="0"/>
    <p:restoredTop sz="90525" autoAdjust="0"/>
  </p:normalViewPr>
  <p:slideViewPr>
    <p:cSldViewPr snapToGrid="0">
      <p:cViewPr varScale="1">
        <p:scale>
          <a:sx n="82" d="100"/>
          <a:sy n="82" d="100"/>
        </p:scale>
        <p:origin x="852" y="54"/>
      </p:cViewPr>
      <p:guideLst>
        <p:guide orient="horz" pos="2432"/>
        <p:guide pos="3840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8" d="100"/>
          <a:sy n="68" d="100"/>
        </p:scale>
        <p:origin x="3288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74" Type="http://schemas.openxmlformats.org/officeDocument/2006/relationships/tableStyles" Target="tableStyle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tags" Target="tags/tag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notesMaster" Target="notesMasters/notesMaster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" Type="http://schemas.openxmlformats.org/officeDocument/2006/relationships/slide" Target="slides/slide3.xml"/><Relationship Id="rId7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1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3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accent1"/>
                </a:solidFill>
              </a:rPr>
              <a:t>Chart Titl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accent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noFill/>
            <a:ln w="25400"/>
          </c:spPr>
          <c:explosion val="5"/>
          <c:dPt>
            <c:idx val="0"/>
            <c:bubble3D val="0"/>
            <c:spPr>
              <a:noFill/>
              <a:ln w="2540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0699-4428-B904-E40AEC35D7DB}"/>
              </c:ext>
            </c:extLst>
          </c:dPt>
          <c:dPt>
            <c:idx val="1"/>
            <c:bubble3D val="0"/>
            <c:spPr>
              <a:noFill/>
              <a:ln w="2540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0699-4428-B904-E40AEC35D7DB}"/>
              </c:ext>
            </c:extLst>
          </c:dPt>
          <c:dPt>
            <c:idx val="2"/>
            <c:bubble3D val="0"/>
            <c:spPr>
              <a:noFill/>
              <a:ln w="25400">
                <a:solidFill>
                  <a:schemeClr val="accent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699-4428-B904-E40AEC35D7DB}"/>
              </c:ext>
            </c:extLst>
          </c:dPt>
          <c:dPt>
            <c:idx val="3"/>
            <c:bubble3D val="0"/>
            <c:spPr>
              <a:noFill/>
              <a:ln w="25400"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699-4428-B904-E40AEC35D7DB}"/>
              </c:ext>
            </c:extLst>
          </c:dPt>
          <c:dLbls>
            <c:dLbl>
              <c:idx val="0"/>
              <c:layout>
                <c:manualLayout>
                  <c:x val="0.24936677364852336"/>
                  <c:y val="-2.9186424957105147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0699-4428-B904-E40AEC35D7DB}"/>
                </c:ext>
              </c:extLst>
            </c:dLbl>
            <c:dLbl>
              <c:idx val="1"/>
              <c:layout>
                <c:manualLayout>
                  <c:x val="0.29096584985266699"/>
                  <c:y val="4.3780786507506423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none" lIns="38100" tIns="19050" rIns="38100" bIns="19050" anchor="b" anchorCtr="0">
                  <a:norm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42982698523E-2"/>
                      <c:h val="5.813935851455344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0699-4428-B904-E40AEC35D7DB}"/>
                </c:ext>
              </c:extLst>
            </c:dLbl>
            <c:dLbl>
              <c:idx val="2"/>
              <c:layout>
                <c:manualLayout>
                  <c:x val="-0.24190079500931949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none" lIns="38100" tIns="19050" rIns="38100" bIns="19050" anchor="b" anchorCtr="0">
                  <a:norm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0699-4428-B904-E40AEC35D7DB}"/>
                </c:ext>
              </c:extLst>
            </c:dLbl>
            <c:dLbl>
              <c:idx val="3"/>
              <c:layout>
                <c:manualLayout>
                  <c:x val="-0.31159420289855072"/>
                  <c:y val="2.918642495710514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none" lIns="38100" tIns="19050" rIns="38100" bIns="19050" anchor="b" anchorCtr="0">
                  <a:norm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0699-4428-B904-E40AEC35D7D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none" lIns="38100" tIns="19050" rIns="38100" bIns="19050" anchor="b" anchorCtr="0">
                <a:normAutofit/>
              </a:bodyPr>
              <a:lstStyle/>
              <a:p>
                <a:pPr>
                  <a:defRPr sz="2800" b="0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12700" cap="flat" cmpd="sng" algn="ctr">
                  <a:solidFill>
                    <a:schemeClr val="accent1"/>
                  </a:solidFill>
                  <a:prstDash val="dash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A4-4CBE-B58C-16C78DCA9202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25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tx1"/>
    </a:solidFill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bg1"/>
                </a:solidFill>
              </a:rPr>
              <a:t>Chart Titl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noFill/>
            <a:ln w="25400">
              <a:solidFill>
                <a:schemeClr val="accent1"/>
              </a:solidFill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A4-4CBE-B58C-16C78DCA920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noFill/>
            <a:ln w="25400">
              <a:solidFill>
                <a:schemeClr val="accent2"/>
              </a:solidFill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6A4-4CBE-B58C-16C78DCA920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noFill/>
            <a:ln w="25400">
              <a:solidFill>
                <a:schemeClr val="accent3"/>
              </a:solidFill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6A4-4CBE-B58C-16C78DCA920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32</c:v>
                </c:pt>
              </c:strCache>
            </c:strRef>
          </c:tx>
          <c:spPr>
            <a:noFill/>
            <a:ln w="25400">
              <a:solidFill>
                <a:schemeClr val="accent4"/>
              </a:solidFill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6A4-4CBE-B58C-16C78DCA920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33</c:v>
                </c:pt>
              </c:strCache>
            </c:strRef>
          </c:tx>
          <c:spPr>
            <a:noFill/>
            <a:ln w="25400">
              <a:solidFill>
                <a:schemeClr val="accent5"/>
              </a:solidFill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6A4-4CBE-B58C-16C78DCA920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34</c:v>
                </c:pt>
              </c:strCache>
            </c:strRef>
          </c:tx>
          <c:spPr>
            <a:noFill/>
            <a:ln w="25400">
              <a:solidFill>
                <a:schemeClr val="accent6"/>
              </a:solidFill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G$2:$G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6A4-4CBE-B58C-16C78DCA92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79391615"/>
        <c:axId val="1379393695"/>
      </c:barChart>
      <c:catAx>
        <c:axId val="13793916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79393695"/>
        <c:crosses val="autoZero"/>
        <c:auto val="1"/>
        <c:lblAlgn val="ctr"/>
        <c:lblOffset val="100"/>
        <c:noMultiLvlLbl val="0"/>
      </c:catAx>
      <c:valAx>
        <c:axId val="13793936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accent1"/>
              </a:solidFill>
              <a:prstDash val="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793916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2">
                <a:lumMod val="40000"/>
                <a:lumOff val="60000"/>
              </a:schemeClr>
            </a:solidFill>
          </c:spPr>
          <c:explosion val="6"/>
          <c:dPt>
            <c:idx val="0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25400">
                <a:solidFill>
                  <a:schemeClr val="accent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75F-4C0A-BBA0-64BAC8E02D84}"/>
              </c:ext>
            </c:extLst>
          </c:dPt>
          <c:dPt>
            <c:idx val="1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25400">
                <a:solidFill>
                  <a:schemeClr val="accent5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75F-4C0A-BBA0-64BAC8E02D84}"/>
              </c:ext>
            </c:extLst>
          </c:dPt>
          <c:dPt>
            <c:idx val="2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25400"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75F-4C0A-BBA0-64BAC8E02D84}"/>
              </c:ext>
            </c:extLst>
          </c:dPt>
          <c:dPt>
            <c:idx val="3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22225">
                <a:solidFill>
                  <a:schemeClr val="accent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75F-4C0A-BBA0-64BAC8E02D84}"/>
              </c:ext>
            </c:extLst>
          </c:dPt>
          <c:dPt>
            <c:idx val="4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2540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75F-4C0A-BBA0-64BAC8E02D84}"/>
              </c:ext>
            </c:extLst>
          </c:dPt>
          <c:dPt>
            <c:idx val="5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22225">
                <a:solidFill>
                  <a:schemeClr val="accent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275F-4C0A-BBA0-64BAC8E02D84}"/>
              </c:ext>
            </c:extLst>
          </c:dPt>
          <c:dPt>
            <c:idx val="6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25400">
                <a:solidFill>
                  <a:schemeClr val="accent6">
                    <a:lumMod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275F-4C0A-BBA0-64BAC8E02D84}"/>
              </c:ext>
            </c:extLst>
          </c:dPt>
          <c:dPt>
            <c:idx val="7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25400">
                <a:solidFill>
                  <a:schemeClr val="accent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275F-4C0A-BBA0-64BAC8E02D84}"/>
              </c:ext>
            </c:extLst>
          </c:dPt>
          <c:dPt>
            <c:idx val="8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22225">
                <a:solidFill>
                  <a:schemeClr val="accent6">
                    <a:lumMod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275F-4C0A-BBA0-64BAC8E02D84}"/>
              </c:ext>
            </c:extLst>
          </c:dPt>
          <c:cat>
            <c:strRef>
              <c:f>Sheet1!$A$2:$A$10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24</c:v>
                </c:pt>
                <c:pt idx="1">
                  <c:v>20</c:v>
                </c:pt>
                <c:pt idx="2">
                  <c:v>2</c:v>
                </c:pt>
                <c:pt idx="3">
                  <c:v>21</c:v>
                </c:pt>
                <c:pt idx="4">
                  <c:v>4</c:v>
                </c:pt>
                <c:pt idx="5">
                  <c:v>28</c:v>
                </c:pt>
                <c:pt idx="6">
                  <c:v>2</c:v>
                </c:pt>
                <c:pt idx="7">
                  <c:v>8</c:v>
                </c:pt>
                <c:pt idx="8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275F-4C0A-BBA0-64BAC8E02D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1"/>
        <c:holeSize val="66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2">
                <a:lumMod val="40000"/>
                <a:lumOff val="60000"/>
              </a:schemeClr>
            </a:solidFill>
          </c:spPr>
          <c:explosion val="6"/>
          <c:dPt>
            <c:idx val="0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2540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2E-4A67-ABB7-DD78A2E787CE}"/>
              </c:ext>
            </c:extLst>
          </c:dPt>
          <c:dPt>
            <c:idx val="1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25400">
                <a:solidFill>
                  <a:schemeClr val="accent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2E-4A67-ABB7-DD78A2E787CE}"/>
              </c:ext>
            </c:extLst>
          </c:dPt>
          <c:dPt>
            <c:idx val="2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25400"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42E-4A67-ABB7-DD78A2E787CE}"/>
              </c:ext>
            </c:extLst>
          </c:dPt>
          <c:dPt>
            <c:idx val="3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25400">
                <a:solidFill>
                  <a:schemeClr val="accent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42E-4A67-ABB7-DD78A2E787CE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0</c:v>
                </c:pt>
                <c:pt idx="1">
                  <c:v>15</c:v>
                </c:pt>
                <c:pt idx="2">
                  <c:v>1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42E-4A67-ABB7-DD78A2E787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2"/>
        <c:holeSize val="71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>
                <a:solidFill>
                  <a:schemeClr val="accent2"/>
                </a:solidFill>
              </a:rPr>
              <a:t>Annual Income &amp; Gross Profit</a:t>
            </a:r>
          </a:p>
        </c:rich>
      </c:tx>
      <c:layout>
        <c:manualLayout>
          <c:xMode val="edge"/>
          <c:yMode val="edge"/>
          <c:x val="7.2127696791070986E-3"/>
          <c:y val="1.182572865366946E-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 Sales</c:v>
                </c:pt>
              </c:strCache>
            </c:strRef>
          </c:tx>
          <c:spPr>
            <a:solidFill>
              <a:schemeClr val="tx1"/>
            </a:solidFill>
            <a:ln w="28575">
              <a:solidFill>
                <a:schemeClr val="accent2"/>
              </a:solidFill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702</c:v>
                </c:pt>
                <c:pt idx="1">
                  <c:v>772</c:v>
                </c:pt>
                <c:pt idx="2">
                  <c:v>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38-4CA4-B1C1-A19023637C6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otal Cogs</c:v>
                </c:pt>
              </c:strCache>
            </c:strRef>
          </c:tx>
          <c:spPr>
            <a:solidFill>
              <a:schemeClr val="tx1"/>
            </a:solidFill>
            <a:ln w="28575">
              <a:solidFill>
                <a:schemeClr val="accent5"/>
              </a:solidFill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12</c:v>
                </c:pt>
                <c:pt idx="1">
                  <c:v>222</c:v>
                </c:pt>
                <c:pt idx="2">
                  <c:v>2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038-4CA4-B1C1-A19023637C6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et Profit</c:v>
                </c:pt>
              </c:strCache>
            </c:strRef>
          </c:tx>
          <c:spPr>
            <a:solidFill>
              <a:schemeClr val="tx1"/>
            </a:solidFill>
            <a:ln w="28575">
              <a:solidFill>
                <a:schemeClr val="accent1"/>
              </a:solidFill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490</c:v>
                </c:pt>
                <c:pt idx="1">
                  <c:v>549</c:v>
                </c:pt>
                <c:pt idx="2">
                  <c:v>6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038-4CA4-B1C1-A19023637C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12"/>
        <c:axId val="490625744"/>
        <c:axId val="490625104"/>
      </c:barChart>
      <c:catAx>
        <c:axId val="490625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1">
                    <a:alpha val="7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90625104"/>
        <c:crosses val="autoZero"/>
        <c:auto val="1"/>
        <c:lblAlgn val="ctr"/>
        <c:lblOffset val="100"/>
        <c:noMultiLvlLbl val="0"/>
      </c:catAx>
      <c:valAx>
        <c:axId val="490625104"/>
        <c:scaling>
          <c:orientation val="minMax"/>
          <c:max val="800"/>
        </c:scaling>
        <c:delete val="0"/>
        <c:axPos val="l"/>
        <c:majorGridlines>
          <c:spPr>
            <a:ln w="12700" cap="flat" cmpd="sng" algn="ctr">
              <a:solidFill>
                <a:schemeClr val="accent1"/>
              </a:solidFill>
              <a:prstDash val="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1">
                    <a:alpha val="7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90625744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>
                <a:solidFill>
                  <a:schemeClr val="tx1"/>
                </a:solidFill>
              </a:rPr>
              <a:t>Success Ratios</a:t>
            </a:r>
          </a:p>
        </c:rich>
      </c:tx>
      <c:layout>
        <c:manualLayout>
          <c:xMode val="edge"/>
          <c:yMode val="edge"/>
          <c:x val="6.913537981665331E-4"/>
          <c:y val="1.597869507323568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ofit Margin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4</c:f>
              <c:strCache>
                <c:ptCount val="3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</c:strCache>
            </c:strRef>
          </c:cat>
          <c:val>
            <c:numRef>
              <c:f>Sheet1!$B$2:$B$4</c:f>
              <c:numCache>
                <c:formatCode>0.00%</c:formatCode>
                <c:ptCount val="3"/>
                <c:pt idx="0">
                  <c:v>0.12</c:v>
                </c:pt>
                <c:pt idx="1">
                  <c:v>0.14949999999999999</c:v>
                </c:pt>
                <c:pt idx="2">
                  <c:v>0.1766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576-4557-8B12-099D853E4754}"/>
            </c:ext>
          </c:extLst>
        </c:ser>
        <c:ser>
          <c:idx val="2"/>
          <c:order val="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4</c:f>
              <c:strCache>
                <c:ptCount val="3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576-4557-8B12-099D853E47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80487736"/>
        <c:axId val="680492856"/>
      </c:line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CID Test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4</c:f>
              <c:strCache>
                <c:ptCount val="3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.34</c:v>
                </c:pt>
                <c:pt idx="1">
                  <c:v>3.66</c:v>
                </c:pt>
                <c:pt idx="2">
                  <c:v>6.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576-4557-8B12-099D853E47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80495736"/>
        <c:axId val="680494136"/>
      </c:lineChart>
      <c:catAx>
        <c:axId val="6804877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80492856"/>
        <c:crosses val="autoZero"/>
        <c:auto val="1"/>
        <c:lblAlgn val="ctr"/>
        <c:lblOffset val="100"/>
        <c:noMultiLvlLbl val="0"/>
      </c:catAx>
      <c:valAx>
        <c:axId val="680492856"/>
        <c:scaling>
          <c:orientation val="minMax"/>
          <c:max val="0.2"/>
        </c:scaling>
        <c:delete val="0"/>
        <c:axPos val="l"/>
        <c:majorGridlines>
          <c:spPr>
            <a:ln w="12700" cap="flat" cmpd="sng" algn="ctr">
              <a:solidFill>
                <a:schemeClr val="accent1"/>
              </a:solidFill>
              <a:prstDash val="dash"/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80487736"/>
        <c:crosses val="autoZero"/>
        <c:crossBetween val="between"/>
      </c:valAx>
      <c:valAx>
        <c:axId val="680494136"/>
        <c:scaling>
          <c:orientation val="minMax"/>
          <c:max val="7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80495736"/>
        <c:crosses val="max"/>
        <c:crossBetween val="between"/>
      </c:valAx>
      <c:catAx>
        <c:axId val="6804957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8049413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accent1"/>
          </a:solidFill>
        </a:defRPr>
      </a:pPr>
      <a:endParaRPr lang="ru-RU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8C1-46BF-8440-AEFD0DA39D9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38C1-46BF-8440-AEFD0DA39D9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7</c:v>
                </c:pt>
                <c:pt idx="1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8C1-46BF-8440-AEFD0DA39D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64E-4D58-81DC-2B1385B5A2B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64E-4D58-81DC-2B1385B5A2BF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1</c:v>
                </c:pt>
                <c:pt idx="1">
                  <c:v>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64E-4D58-81DC-2B1385B5A2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974-451F-922D-5036AF7DB1A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974-451F-922D-5036AF7DB1A6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7</c:v>
                </c:pt>
                <c:pt idx="1">
                  <c:v>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974-451F-922D-5036AF7DB1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011-4772-93FF-8CF059B0717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011-4772-93FF-8CF059B0717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7</c:v>
                </c:pt>
                <c:pt idx="1">
                  <c:v>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011-4772-93FF-8CF059B071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7EF-486F-B9C3-BB44DDE740B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7EF-486F-B9C3-BB44DDE740B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5</c:v>
                </c:pt>
                <c:pt idx="1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7EF-486F-B9C3-BB44DDE740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accent1"/>
                </a:solidFill>
              </a:rPr>
              <a:t>Chart Titl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accent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noFill/>
            <a:ln w="25400"/>
          </c:spPr>
          <c:explosion val="5"/>
          <c:dPt>
            <c:idx val="0"/>
            <c:bubble3D val="0"/>
            <c:spPr>
              <a:noFill/>
              <a:ln w="2540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0699-4428-B904-E40AEC35D7DB}"/>
              </c:ext>
            </c:extLst>
          </c:dPt>
          <c:dPt>
            <c:idx val="1"/>
            <c:bubble3D val="0"/>
            <c:spPr>
              <a:noFill/>
              <a:ln w="2540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0699-4428-B904-E40AEC35D7DB}"/>
              </c:ext>
            </c:extLst>
          </c:dPt>
          <c:dPt>
            <c:idx val="2"/>
            <c:bubble3D val="0"/>
            <c:spPr>
              <a:noFill/>
              <a:ln w="25400">
                <a:solidFill>
                  <a:schemeClr val="accent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699-4428-B904-E40AEC35D7DB}"/>
              </c:ext>
            </c:extLst>
          </c:dPt>
          <c:dPt>
            <c:idx val="3"/>
            <c:bubble3D val="0"/>
            <c:spPr>
              <a:noFill/>
              <a:ln w="25400"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699-4428-B904-E40AEC35D7DB}"/>
              </c:ext>
            </c:extLst>
          </c:dPt>
          <c:dLbls>
            <c:dLbl>
              <c:idx val="0"/>
              <c:layout>
                <c:manualLayout>
                  <c:x val="0.29934902471723407"/>
                  <c:y val="5.8372849914209764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0699-4428-B904-E40AEC35D7DB}"/>
                </c:ext>
              </c:extLst>
            </c:dLbl>
            <c:dLbl>
              <c:idx val="1"/>
              <c:layout>
                <c:manualLayout>
                  <c:x val="0.36930540606884571"/>
                  <c:y val="-5.8372849914210293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0699-4428-B904-E40AEC35D7DB}"/>
                </c:ext>
              </c:extLst>
            </c:dLbl>
            <c:dLbl>
              <c:idx val="2"/>
              <c:layout>
                <c:manualLayout>
                  <c:x val="-0.24190079500931949"/>
                  <c:y val="0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0699-4428-B904-E40AEC35D7DB}"/>
                </c:ext>
              </c:extLst>
            </c:dLbl>
            <c:dLbl>
              <c:idx val="3"/>
              <c:layout>
                <c:manualLayout>
                  <c:x val="-0.31159420289855072"/>
                  <c:y val="2.9186424957105147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0699-4428-B904-E40AEC35D7D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none" lIns="38100" tIns="19050" rIns="38100" bIns="19050" anchor="b" anchorCtr="0">
                <a:norm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12700" cap="flat" cmpd="sng" algn="ctr">
                  <a:solidFill>
                    <a:schemeClr val="tx1"/>
                  </a:solidFill>
                  <a:prstDash val="dash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A4-4CBE-B58C-16C78DCA9202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25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06F-455E-BFEA-78E46F0B615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06F-455E-BFEA-78E46F0B6156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7</c:v>
                </c:pt>
                <c:pt idx="1">
                  <c:v>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06F-455E-BFEA-78E46F0B61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8C1-46BF-8440-AEFD0DA39D9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38C1-46BF-8440-AEFD0DA39D9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7</c:v>
                </c:pt>
                <c:pt idx="1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8C1-46BF-8440-AEFD0DA39D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64E-4D58-81DC-2B1385B5A2B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64E-4D58-81DC-2B1385B5A2BF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1</c:v>
                </c:pt>
                <c:pt idx="1">
                  <c:v>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64E-4D58-81DC-2B1385B5A2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974-451F-922D-5036AF7DB1A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974-451F-922D-5036AF7DB1A6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7</c:v>
                </c:pt>
                <c:pt idx="1">
                  <c:v>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974-451F-922D-5036AF7DB1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011-4772-93FF-8CF059B0717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011-4772-93FF-8CF059B0717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7</c:v>
                </c:pt>
                <c:pt idx="1">
                  <c:v>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011-4772-93FF-8CF059B071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7EF-486F-B9C3-BB44DDE740B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7EF-486F-B9C3-BB44DDE740B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5</c:v>
                </c:pt>
                <c:pt idx="1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7EF-486F-B9C3-BB44DDE740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FF2-42A2-BC86-C3635DA8C6D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FF2-42A2-BC86-C3635DA8C6D9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7</c:v>
                </c:pt>
                <c:pt idx="1">
                  <c:v>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FF2-42A2-BC86-C3635DA8C6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620-4263-94AD-859EC5593921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7620-4263-94AD-859EC559392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20-4263-94AD-859EC55939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620-4263-94AD-859EC5593921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7620-4263-94AD-859EC559392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.2</c:v>
                </c:pt>
                <c:pt idx="1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20-4263-94AD-859EC55939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620-4263-94AD-859EC5593921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7620-4263-94AD-859EC559392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2.2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20-4263-94AD-859EC55939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bg1"/>
                </a:solidFill>
              </a:rPr>
              <a:t>Chart Title</a:t>
            </a:r>
          </a:p>
        </c:rich>
      </c:tx>
      <c:layout>
        <c:manualLayout>
          <c:xMode val="edge"/>
          <c:yMode val="edge"/>
          <c:x val="0.35896135265700485"/>
          <c:y val="2.334913996568411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14704325002852905"/>
          <c:y val="0.17825137923094"/>
          <c:w val="0.59963349689984402"/>
          <c:h val="0.7245479436440009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noFill/>
            <a:ln w="25400"/>
          </c:spPr>
          <c:explosion val="5"/>
          <c:dPt>
            <c:idx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2540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0699-4428-B904-E40AEC35D7DB}"/>
              </c:ext>
            </c:extLst>
          </c:dPt>
          <c:dPt>
            <c:idx val="1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2540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0699-4428-B904-E40AEC35D7DB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25400"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699-4428-B904-E40AEC35D7DB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  <a:ln w="25400"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699-4428-B904-E40AEC35D7DB}"/>
              </c:ext>
            </c:extLst>
          </c:dPt>
          <c:dLbls>
            <c:dLbl>
              <c:idx val="0"/>
              <c:layout>
                <c:manualLayout>
                  <c:x val="0.25627201491117957"/>
                  <c:y val="-5.3507827627702014E-17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0699-4428-B904-E40AEC35D7DB}"/>
                </c:ext>
              </c:extLst>
            </c:dLbl>
            <c:dLbl>
              <c:idx val="1"/>
              <c:layout>
                <c:manualLayout>
                  <c:x val="0.32610521510898094"/>
                  <c:y val="-1.0701565525540403E-1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none" lIns="38100" tIns="19050" rIns="38100" bIns="19050" anchor="b" anchorCtr="0">
                  <a:norm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0699-4428-B904-E40AEC35D7DB}"/>
                </c:ext>
              </c:extLst>
            </c:dLbl>
            <c:dLbl>
              <c:idx val="2"/>
              <c:layout>
                <c:manualLayout>
                  <c:x val="-0.24190079500931949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none" lIns="38100" tIns="19050" rIns="38100" bIns="19050" anchor="b" anchorCtr="0">
                  <a:norm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0699-4428-B904-E40AEC35D7DB}"/>
                </c:ext>
              </c:extLst>
            </c:dLbl>
            <c:dLbl>
              <c:idx val="3"/>
              <c:layout>
                <c:manualLayout>
                  <c:x val="-0.31159420289855072"/>
                  <c:y val="2.9186424957105147E-3"/>
                </c:manualLayout>
              </c:layout>
              <c:tx>
                <c:rich>
                  <a:bodyPr rot="0" spcFirstLastPara="1" vertOverflow="overflow" horzOverflow="overflow" vert="horz" wrap="none" lIns="38100" tIns="19050" rIns="38100" bIns="19050" anchor="b" anchorCtr="0">
                    <a:normAutofit/>
                  </a:bodyPr>
                  <a:lstStyle/>
                  <a:p>
                    <a:pPr>
                      <a:defRPr sz="140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B5937456-88AB-4084-83D5-9ED402DF9282}" type="PERCENTAGE">
                      <a:rPr lang="en-US" dirty="0">
                        <a:solidFill>
                          <a:schemeClr val="bg2"/>
                        </a:solidFill>
                      </a:rPr>
                      <a:pPr>
                        <a:defRPr sz="1400">
                          <a:solidFill>
                            <a:schemeClr val="tx1"/>
                          </a:solidFill>
                        </a:defRPr>
                      </a:pPr>
                      <a:t>[ПРОЦЕНТ]</a:t>
                    </a:fld>
                    <a:endParaRPr lang="ru-RU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none" lIns="38100" tIns="19050" rIns="38100" bIns="19050" anchor="b" anchorCtr="0">
                  <a:norm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0699-4428-B904-E40AEC35D7D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none" lIns="38100" tIns="19050" rIns="38100" bIns="19050" anchor="b" anchorCtr="0">
                <a:norm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12700" cap="flat" cmpd="sng" algn="ctr">
                  <a:solidFill>
                    <a:schemeClr val="accent1"/>
                  </a:solidFill>
                  <a:prstDash val="dash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A4-4CBE-B58C-16C78DCA9202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25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620-4263-94AD-859EC5593921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7620-4263-94AD-859EC559392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7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20-4263-94AD-859EC55939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bg1"/>
                </a:solidFill>
              </a:rPr>
              <a:t>Chart Titl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noFill/>
            <a:ln w="25400"/>
          </c:spPr>
          <c:explosion val="5"/>
          <c:dPt>
            <c:idx val="0"/>
            <c:bubble3D val="0"/>
            <c:spPr>
              <a:noFill/>
              <a:ln w="2540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0699-4428-B904-E40AEC35D7DB}"/>
              </c:ext>
            </c:extLst>
          </c:dPt>
          <c:dPt>
            <c:idx val="1"/>
            <c:bubble3D val="0"/>
            <c:spPr>
              <a:noFill/>
              <a:ln w="2540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0699-4428-B904-E40AEC35D7DB}"/>
              </c:ext>
            </c:extLst>
          </c:dPt>
          <c:dPt>
            <c:idx val="2"/>
            <c:bubble3D val="0"/>
            <c:spPr>
              <a:noFill/>
              <a:ln w="25400"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699-4428-B904-E40AEC35D7DB}"/>
              </c:ext>
            </c:extLst>
          </c:dPt>
          <c:dPt>
            <c:idx val="3"/>
            <c:bubble3D val="0"/>
            <c:spPr>
              <a:noFill/>
              <a:ln w="25400">
                <a:solidFill>
                  <a:schemeClr val="accent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699-4428-B904-E40AEC35D7DB}"/>
              </c:ext>
            </c:extLst>
          </c:dPt>
          <c:dLbls>
            <c:dLbl>
              <c:idx val="0"/>
              <c:layout>
                <c:manualLayout>
                  <c:x val="-0.64492753623188404"/>
                  <c:y val="2.9186424957104613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0699-4428-B904-E40AEC35D7DB}"/>
                </c:ext>
              </c:extLst>
            </c:dLbl>
            <c:dLbl>
              <c:idx val="1"/>
              <c:layout>
                <c:manualLayout>
                  <c:x val="-0.50239720034995627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none" lIns="38100" tIns="19050" rIns="38100" bIns="19050" anchor="b" anchorCtr="0">
                  <a:norm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0699-4428-B904-E40AEC35D7DB}"/>
                </c:ext>
              </c:extLst>
            </c:dLbl>
            <c:dLbl>
              <c:idx val="2"/>
              <c:layout>
                <c:manualLayout>
                  <c:x val="-0.24190079500931949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none" lIns="38100" tIns="19050" rIns="38100" bIns="19050" anchor="b" anchorCtr="0">
                  <a:norm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0699-4428-B904-E40AEC35D7DB}"/>
                </c:ext>
              </c:extLst>
            </c:dLbl>
            <c:dLbl>
              <c:idx val="3"/>
              <c:layout>
                <c:manualLayout>
                  <c:x val="-0.31159420289855072"/>
                  <c:y val="2.918642495710514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none" lIns="38100" tIns="19050" rIns="38100" bIns="19050" anchor="b" anchorCtr="0">
                  <a:norm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0699-4428-B904-E40AEC35D7D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none" lIns="38100" tIns="19050" rIns="38100" bIns="19050" anchor="b" anchorCtr="0">
                <a:norm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12700" cap="flat" cmpd="sng" algn="ctr">
                  <a:solidFill>
                    <a:schemeClr val="bg2"/>
                  </a:solidFill>
                  <a:prstDash val="dash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A4-4CBE-B58C-16C78DCA9202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25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tx1"/>
    </a:solidFill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accent1"/>
                </a:solidFill>
              </a:rPr>
              <a:t>Chart Title</a:t>
            </a:r>
          </a:p>
        </c:rich>
      </c:tx>
      <c:layout>
        <c:manualLayout>
          <c:xMode val="edge"/>
          <c:yMode val="edge"/>
          <c:x val="0.40143026004728138"/>
          <c:y val="2.334913996568411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accent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14704325002852905"/>
          <c:y val="0.17825137923094"/>
          <c:w val="0.59963349689984402"/>
          <c:h val="0.7245479436440009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noFill/>
            <a:ln w="25400"/>
          </c:spPr>
          <c:explosion val="5"/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0699-4428-B904-E40AEC35D7D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0699-4428-B904-E40AEC35D7D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699-4428-B904-E40AEC35D7DB}"/>
              </c:ext>
            </c:extLst>
          </c:dPt>
          <c:dPt>
            <c:idx val="3"/>
            <c:bubble3D val="0"/>
            <c:spPr>
              <a:solidFill>
                <a:schemeClr val="tx2"/>
              </a:solidFill>
              <a:ln w="254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699-4428-B904-E40AEC35D7DB}"/>
              </c:ext>
            </c:extLst>
          </c:dPt>
          <c:dLbls>
            <c:dLbl>
              <c:idx val="0"/>
              <c:layout>
                <c:manualLayout>
                  <c:x val="0.30854554084994695"/>
                  <c:y val="-5.3507827627702014E-17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0699-4428-B904-E40AEC35D7DB}"/>
                </c:ext>
              </c:extLst>
            </c:dLbl>
            <c:dLbl>
              <c:idx val="1"/>
              <c:layout>
                <c:manualLayout>
                  <c:x val="0.38054429366541948"/>
                  <c:y val="2.918642495710514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none" lIns="38100" tIns="19050" rIns="38100" bIns="19050" anchor="b" anchorCtr="0">
                  <a:norm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0699-4428-B904-E40AEC35D7DB}"/>
                </c:ext>
              </c:extLst>
            </c:dLbl>
            <c:dLbl>
              <c:idx val="2"/>
              <c:layout>
                <c:manualLayout>
                  <c:x val="-0.24190079500931949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none" lIns="38100" tIns="19050" rIns="38100" bIns="19050" anchor="b" anchorCtr="0">
                  <a:norm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0699-4428-B904-E40AEC35D7DB}"/>
                </c:ext>
              </c:extLst>
            </c:dLbl>
            <c:dLbl>
              <c:idx val="3"/>
              <c:layout>
                <c:manualLayout>
                  <c:x val="-0.31159420289855072"/>
                  <c:y val="2.9186424957105147E-3"/>
                </c:manualLayout>
              </c:layout>
              <c:tx>
                <c:rich>
                  <a:bodyPr rot="0" spcFirstLastPara="1" vertOverflow="overflow" horzOverflow="overflow" vert="horz" wrap="none" lIns="38100" tIns="19050" rIns="38100" bIns="19050" anchor="b" anchorCtr="0">
                    <a:normAutofit/>
                  </a:bodyPr>
                  <a:lstStyle/>
                  <a:p>
                    <a:pPr>
                      <a:defRPr sz="240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B5937456-88AB-4084-83D5-9ED402DF9282}" type="PERCENTAGE">
                      <a:rPr lang="en-US" sz="2400" dirty="0">
                        <a:solidFill>
                          <a:schemeClr val="bg2"/>
                        </a:solidFill>
                      </a:rPr>
                      <a:pPr>
                        <a:defRPr sz="2400">
                          <a:solidFill>
                            <a:schemeClr val="tx1"/>
                          </a:solidFill>
                        </a:defRPr>
                      </a:pPr>
                      <a:t>[ПРОЦЕНТ]</a:t>
                    </a:fld>
                    <a:endParaRPr lang="ru-RU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none" lIns="38100" tIns="19050" rIns="38100" bIns="19050" anchor="b" anchorCtr="0">
                  <a:norm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335653695461977E-2"/>
                      <c:h val="5.5220716018842937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0699-4428-B904-E40AEC35D7D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none" lIns="38100" tIns="19050" rIns="38100" bIns="19050" anchor="b" anchorCtr="0">
                <a:norm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12700" cap="flat" cmpd="sng" algn="ctr">
                  <a:solidFill>
                    <a:schemeClr val="accent1"/>
                  </a:solidFill>
                  <a:prstDash val="dash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A4-4CBE-B58C-16C78DCA9202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25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bg1"/>
                </a:solidFill>
              </a:rPr>
              <a:t>Chart Title</a:t>
            </a:r>
          </a:p>
        </c:rich>
      </c:tx>
      <c:layout>
        <c:manualLayout>
          <c:xMode val="edge"/>
          <c:yMode val="edge"/>
          <c:x val="0.39277777777777778"/>
          <c:y val="1.751185497426308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6A4-4CBE-B58C-16C78DCA920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6A4-4CBE-B58C-16C78DCA920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540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6A4-4CBE-B58C-16C78DCA920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32</c:v>
                </c:pt>
              </c:strCache>
            </c:strRef>
          </c:tx>
          <c:spPr>
            <a:ln w="2540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6A4-4CBE-B58C-16C78DCA920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33</c:v>
                </c:pt>
              </c:strCache>
            </c:strRef>
          </c:tx>
          <c:spPr>
            <a:ln w="2540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6A4-4CBE-B58C-16C78DCA920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34</c:v>
                </c:pt>
              </c:strCache>
            </c:strRef>
          </c:tx>
          <c:spPr>
            <a:ln w="3810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G$2:$G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6A4-4CBE-B58C-16C78DCA92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79391615"/>
        <c:axId val="1379393695"/>
      </c:lineChart>
      <c:catAx>
        <c:axId val="13793916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79393695"/>
        <c:crosses val="autoZero"/>
        <c:auto val="1"/>
        <c:lblAlgn val="ctr"/>
        <c:lblOffset val="100"/>
        <c:noMultiLvlLbl val="0"/>
      </c:catAx>
      <c:valAx>
        <c:axId val="1379393695"/>
        <c:scaling>
          <c:orientation val="minMax"/>
        </c:scaling>
        <c:delete val="0"/>
        <c:axPos val="l"/>
        <c:majorGridlines>
          <c:spPr>
            <a:ln w="12700" cap="flat" cmpd="sng" algn="ctr">
              <a:solidFill>
                <a:schemeClr val="accent1"/>
              </a:solidFill>
              <a:prstDash val="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793916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bg1"/>
                </a:solidFill>
              </a:rPr>
              <a:t>Chart Title</a:t>
            </a:r>
          </a:p>
        </c:rich>
      </c:tx>
      <c:layout>
        <c:manualLayout>
          <c:xMode val="edge"/>
          <c:yMode val="edge"/>
          <c:x val="0.39277777777777778"/>
          <c:y val="1.751185497426308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54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2"/>
              </a:solidFill>
              <a:ln w="19050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6A4-4CBE-B58C-16C78DCA920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5400" cap="rnd">
              <a:solidFill>
                <a:schemeClr val="tx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2"/>
              </a:solidFill>
              <a:ln w="19050">
                <a:solidFill>
                  <a:schemeClr val="tx2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6A4-4CBE-B58C-16C78DCA920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540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6A4-4CBE-B58C-16C78DCA920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32</c:v>
                </c:pt>
              </c:strCache>
            </c:strRef>
          </c:tx>
          <c:spPr>
            <a:ln w="2540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6A4-4CBE-B58C-16C78DCA920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33</c:v>
                </c:pt>
              </c:strCache>
            </c:strRef>
          </c:tx>
          <c:spPr>
            <a:ln w="25400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6A4-4CBE-B58C-16C78DCA920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34</c:v>
                </c:pt>
              </c:strCache>
            </c:strRef>
          </c:tx>
          <c:spPr>
            <a:ln w="2540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2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dPt>
            <c:idx val="3"/>
            <c:marker>
              <c:symbol val="circle"/>
              <c:size val="5"/>
              <c:spPr>
                <a:solidFill>
                  <a:schemeClr val="bg2"/>
                </a:solidFill>
                <a:ln w="19050">
                  <a:solidFill>
                    <a:schemeClr val="accent6"/>
                  </a:solidFill>
                  <a:round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9C18-4CD8-9095-3045385D5CB2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G$2:$G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6A4-4CBE-B58C-16C78DCA92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79391615"/>
        <c:axId val="1379393695"/>
      </c:lineChart>
      <c:catAx>
        <c:axId val="13793916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79393695"/>
        <c:crosses val="autoZero"/>
        <c:auto val="1"/>
        <c:lblAlgn val="ctr"/>
        <c:lblOffset val="100"/>
        <c:noMultiLvlLbl val="0"/>
      </c:catAx>
      <c:valAx>
        <c:axId val="1379393695"/>
        <c:scaling>
          <c:orientation val="minMax"/>
        </c:scaling>
        <c:delete val="0"/>
        <c:axPos val="l"/>
        <c:majorGridlines>
          <c:spPr>
            <a:ln w="12700" cap="flat" cmpd="sng" algn="ctr">
              <a:solidFill>
                <a:schemeClr val="accent1"/>
              </a:solidFill>
              <a:prstDash val="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793916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hart Title</a:t>
            </a:r>
          </a:p>
        </c:rich>
      </c:tx>
      <c:layout>
        <c:manualLayout>
          <c:xMode val="edge"/>
          <c:yMode val="edge"/>
          <c:x val="0.39277777777777778"/>
          <c:y val="1.751185497426308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54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6A4-4CBE-B58C-16C78DCA920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54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6A4-4CBE-B58C-16C78DCA920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540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6A4-4CBE-B58C-16C78DCA920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32</c:v>
                </c:pt>
              </c:strCache>
            </c:strRef>
          </c:tx>
          <c:spPr>
            <a:ln w="2540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6A4-4CBE-B58C-16C78DCA920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33</c:v>
                </c:pt>
              </c:strCache>
            </c:strRef>
          </c:tx>
          <c:spPr>
            <a:ln w="2540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6A4-4CBE-B58C-16C78DCA920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34</c:v>
                </c:pt>
              </c:strCache>
            </c:strRef>
          </c:tx>
          <c:spPr>
            <a:ln w="2540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G$2:$G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6A4-4CBE-B58C-16C78DCA92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79391615"/>
        <c:axId val="1379393695"/>
      </c:lineChart>
      <c:catAx>
        <c:axId val="13793916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79393695"/>
        <c:crosses val="autoZero"/>
        <c:auto val="1"/>
        <c:lblAlgn val="ctr"/>
        <c:lblOffset val="100"/>
        <c:noMultiLvlLbl val="0"/>
      </c:catAx>
      <c:valAx>
        <c:axId val="1379393695"/>
        <c:scaling>
          <c:orientation val="minMax"/>
        </c:scaling>
        <c:delete val="0"/>
        <c:axPos val="l"/>
        <c:majorGridlines>
          <c:spPr>
            <a:ln w="12700" cap="flat" cmpd="sng" algn="ctr">
              <a:solidFill>
                <a:schemeClr val="bg1"/>
              </a:solidFill>
              <a:prstDash val="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2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793916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tx1"/>
    </a:solidFill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hart Title</a:t>
            </a:r>
          </a:p>
        </c:rich>
      </c:tx>
      <c:layout>
        <c:manualLayout>
          <c:xMode val="edge"/>
          <c:yMode val="edge"/>
          <c:x val="0.39277777777777778"/>
          <c:y val="1.751185497426308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54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6A4-4CBE-B58C-16C78DCA920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54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6A4-4CBE-B58C-16C78DCA920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540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6A4-4CBE-B58C-16C78DCA920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32</c:v>
                </c:pt>
              </c:strCache>
            </c:strRef>
          </c:tx>
          <c:spPr>
            <a:ln w="2540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6A4-4CBE-B58C-16C78DCA920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33</c:v>
                </c:pt>
              </c:strCache>
            </c:strRef>
          </c:tx>
          <c:spPr>
            <a:ln w="25400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6A4-4CBE-B58C-16C78DCA920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34</c:v>
                </c:pt>
              </c:strCache>
            </c:strRef>
          </c:tx>
          <c:spPr>
            <a:ln w="2540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dPt>
            <c:idx val="3"/>
            <c:marker>
              <c:symbol val="circle"/>
              <c:size val="5"/>
              <c:spPr>
                <a:solidFill>
                  <a:schemeClr val="tx1"/>
                </a:solidFill>
                <a:ln w="19050">
                  <a:solidFill>
                    <a:schemeClr val="accent6"/>
                  </a:solidFill>
                  <a:round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9C18-4CD8-9095-3045385D5CB2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G$2:$G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6A4-4CBE-B58C-16C78DCA92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79391615"/>
        <c:axId val="1379393695"/>
      </c:lineChart>
      <c:catAx>
        <c:axId val="13793916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79393695"/>
        <c:crosses val="autoZero"/>
        <c:auto val="1"/>
        <c:lblAlgn val="ctr"/>
        <c:lblOffset val="100"/>
        <c:noMultiLvlLbl val="0"/>
      </c:catAx>
      <c:valAx>
        <c:axId val="1379393695"/>
        <c:scaling>
          <c:orientation val="minMax"/>
        </c:scaling>
        <c:delete val="0"/>
        <c:axPos val="l"/>
        <c:majorGridlines>
          <c:spPr>
            <a:ln w="12700" cap="flat" cmpd="sng" algn="ctr">
              <a:solidFill>
                <a:schemeClr val="bg1"/>
              </a:solidFill>
              <a:prstDash val="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2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793916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tx1"/>
    </a:solidFill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86AE60B-070A-4D9A-AF8B-43D0DE0BCB56}" type="doc">
      <dgm:prSet loTypeId="urn:microsoft.com/office/officeart/2005/8/layout/lProcess2" loCatId="list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C9D034DA-DB8E-4956-B03A-29C75F6CCEAC}">
      <dgm:prSet phldrT="[Text]" custT="1"/>
      <dgm:spPr/>
      <dgm:t>
        <a:bodyPr/>
        <a:lstStyle/>
        <a:p>
          <a:r>
            <a:rPr lang="en-US" sz="1600" dirty="0">
              <a:cs typeface="Segoe UI" panose="020B0502040204020203" pitchFamily="34" charset="0"/>
            </a:rPr>
            <a:t>Wants</a:t>
          </a:r>
          <a:endParaRPr lang="en-US" sz="1600" dirty="0"/>
        </a:p>
      </dgm:t>
    </dgm:pt>
    <dgm:pt modelId="{EECCBB25-5895-44BE-8193-A44AB29F0C11}" type="parTrans" cxnId="{29076922-475B-49BB-8B65-71A06EDB1A59}">
      <dgm:prSet/>
      <dgm:spPr/>
      <dgm:t>
        <a:bodyPr/>
        <a:lstStyle/>
        <a:p>
          <a:endParaRPr lang="en-US"/>
        </a:p>
      </dgm:t>
    </dgm:pt>
    <dgm:pt modelId="{ABDF8AAD-3C03-4DD4-8939-42ECDD5BE967}" type="sibTrans" cxnId="{29076922-475B-49BB-8B65-71A06EDB1A59}">
      <dgm:prSet/>
      <dgm:spPr/>
      <dgm:t>
        <a:bodyPr/>
        <a:lstStyle/>
        <a:p>
          <a:endParaRPr lang="en-US"/>
        </a:p>
      </dgm:t>
    </dgm:pt>
    <dgm:pt modelId="{77634288-BCE1-435F-99A3-9297B2C954AE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Fast To Enter Things</a:t>
          </a:r>
          <a:endParaRPr lang="en-US" sz="1050" dirty="0"/>
        </a:p>
      </dgm:t>
    </dgm:pt>
    <dgm:pt modelId="{CA50E07E-7507-4852-955F-873DD4DEE0EF}" type="parTrans" cxnId="{E2303A66-32F2-4CDA-8134-2A95DD296A99}">
      <dgm:prSet/>
      <dgm:spPr/>
      <dgm:t>
        <a:bodyPr/>
        <a:lstStyle/>
        <a:p>
          <a:endParaRPr lang="en-US"/>
        </a:p>
      </dgm:t>
    </dgm:pt>
    <dgm:pt modelId="{13CFE705-00DA-4318-95F4-87A86E750BA2}" type="sibTrans" cxnId="{E2303A66-32F2-4CDA-8134-2A95DD296A99}">
      <dgm:prSet/>
      <dgm:spPr/>
      <dgm:t>
        <a:bodyPr/>
        <a:lstStyle/>
        <a:p>
          <a:endParaRPr lang="en-US"/>
        </a:p>
      </dgm:t>
    </dgm:pt>
    <dgm:pt modelId="{2CB9DBDF-9A0C-4096-9173-9F2F590692AD}">
      <dgm:prSet phldrT="[Text]" custT="1"/>
      <dgm:spPr/>
      <dgm:t>
        <a:bodyPr/>
        <a:lstStyle/>
        <a:p>
          <a:r>
            <a:rPr lang="en-US" sz="1600" dirty="0">
              <a:cs typeface="Segoe UI" panose="020B0502040204020203" pitchFamily="34" charset="0"/>
            </a:rPr>
            <a:t>Fears</a:t>
          </a:r>
          <a:endParaRPr lang="en-US" sz="1600" dirty="0"/>
        </a:p>
      </dgm:t>
    </dgm:pt>
    <dgm:pt modelId="{49B919B8-C609-4B75-A3C7-D5FC664AF13C}" type="parTrans" cxnId="{7ED1CC64-0522-4B22-9AD5-AB655E6201DC}">
      <dgm:prSet/>
      <dgm:spPr/>
      <dgm:t>
        <a:bodyPr/>
        <a:lstStyle/>
        <a:p>
          <a:endParaRPr lang="en-US"/>
        </a:p>
      </dgm:t>
    </dgm:pt>
    <dgm:pt modelId="{FAA0D767-3C02-455B-994D-E6777216F1CB}" type="sibTrans" cxnId="{7ED1CC64-0522-4B22-9AD5-AB655E6201DC}">
      <dgm:prSet/>
      <dgm:spPr/>
      <dgm:t>
        <a:bodyPr/>
        <a:lstStyle/>
        <a:p>
          <a:endParaRPr lang="en-US"/>
        </a:p>
      </dgm:t>
    </dgm:pt>
    <dgm:pt modelId="{A9343295-894A-4F3D-8DFB-06F2B3C4F702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Losing Things</a:t>
          </a:r>
          <a:endParaRPr lang="en-US" sz="1050" dirty="0"/>
        </a:p>
      </dgm:t>
    </dgm:pt>
    <dgm:pt modelId="{0E8AFDF3-F9E7-44F3-8A56-8C5EA64A56E9}" type="parTrans" cxnId="{2DC7CCA1-94B0-4CD6-9F3E-830827127F44}">
      <dgm:prSet/>
      <dgm:spPr/>
      <dgm:t>
        <a:bodyPr/>
        <a:lstStyle/>
        <a:p>
          <a:endParaRPr lang="en-US"/>
        </a:p>
      </dgm:t>
    </dgm:pt>
    <dgm:pt modelId="{38FBFE5E-991E-430B-A0C8-4FCB9CA009A1}" type="sibTrans" cxnId="{2DC7CCA1-94B0-4CD6-9F3E-830827127F44}">
      <dgm:prSet/>
      <dgm:spPr/>
      <dgm:t>
        <a:bodyPr/>
        <a:lstStyle/>
        <a:p>
          <a:endParaRPr lang="en-US"/>
        </a:p>
      </dgm:t>
    </dgm:pt>
    <dgm:pt modelId="{0AEA3E20-0A49-4A92-8B5F-BA0749CD9E33}">
      <dgm:prSet phldrT="[Text]" custT="1"/>
      <dgm:spPr/>
      <dgm:t>
        <a:bodyPr/>
        <a:lstStyle/>
        <a:p>
          <a:r>
            <a:rPr lang="en-US" sz="1600" dirty="0">
              <a:cs typeface="Segoe UI" panose="020B0502040204020203" pitchFamily="34" charset="0"/>
            </a:rPr>
            <a:t>Needs</a:t>
          </a:r>
          <a:endParaRPr lang="en-US" sz="1600" dirty="0"/>
        </a:p>
      </dgm:t>
    </dgm:pt>
    <dgm:pt modelId="{903DA798-43CC-4FA9-84BC-D312DAC14C09}" type="parTrans" cxnId="{44FABAEF-96DC-49D0-BF68-54C31FA3F06B}">
      <dgm:prSet/>
      <dgm:spPr/>
      <dgm:t>
        <a:bodyPr/>
        <a:lstStyle/>
        <a:p>
          <a:endParaRPr lang="en-US"/>
        </a:p>
      </dgm:t>
    </dgm:pt>
    <dgm:pt modelId="{BA1A320B-09F7-4786-B205-FA61847B099E}" type="sibTrans" cxnId="{44FABAEF-96DC-49D0-BF68-54C31FA3F06B}">
      <dgm:prSet/>
      <dgm:spPr/>
      <dgm:t>
        <a:bodyPr/>
        <a:lstStyle/>
        <a:p>
          <a:endParaRPr lang="en-US"/>
        </a:p>
      </dgm:t>
    </dgm:pt>
    <dgm:pt modelId="{00E726C2-C667-4E88-8035-7E8533B06383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Remember Things</a:t>
          </a:r>
          <a:endParaRPr lang="en-US" sz="1050" dirty="0"/>
        </a:p>
      </dgm:t>
    </dgm:pt>
    <dgm:pt modelId="{FEA04DC9-0D85-4C73-94FA-F38D26E5D49C}" type="parTrans" cxnId="{EA2ECD16-2C41-4EE2-838F-6236B53E1890}">
      <dgm:prSet/>
      <dgm:spPr/>
      <dgm:t>
        <a:bodyPr/>
        <a:lstStyle/>
        <a:p>
          <a:endParaRPr lang="en-US"/>
        </a:p>
      </dgm:t>
    </dgm:pt>
    <dgm:pt modelId="{2A63E21C-A5BA-4DF9-B424-072D634FC493}" type="sibTrans" cxnId="{EA2ECD16-2C41-4EE2-838F-6236B53E1890}">
      <dgm:prSet/>
      <dgm:spPr/>
      <dgm:t>
        <a:bodyPr/>
        <a:lstStyle/>
        <a:p>
          <a:endParaRPr lang="en-US"/>
        </a:p>
      </dgm:t>
    </dgm:pt>
    <dgm:pt modelId="{0C4DB261-AFF5-4736-B033-13BC35D33F32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Write Things Down</a:t>
          </a:r>
          <a:endParaRPr lang="en-US" sz="1050" dirty="0"/>
        </a:p>
      </dgm:t>
    </dgm:pt>
    <dgm:pt modelId="{05B89D92-BEA8-473E-93EA-89055D95B4DF}" type="parTrans" cxnId="{2E511CFD-BC4E-43FD-ADD5-258467B55286}">
      <dgm:prSet/>
      <dgm:spPr/>
      <dgm:t>
        <a:bodyPr/>
        <a:lstStyle/>
        <a:p>
          <a:endParaRPr lang="en-US"/>
        </a:p>
      </dgm:t>
    </dgm:pt>
    <dgm:pt modelId="{50E4AB63-A4C1-4BF1-8FFA-5C4710FB4AA2}" type="sibTrans" cxnId="{2E511CFD-BC4E-43FD-ADD5-258467B55286}">
      <dgm:prSet/>
      <dgm:spPr/>
      <dgm:t>
        <a:bodyPr/>
        <a:lstStyle/>
        <a:p>
          <a:endParaRPr lang="en-US"/>
        </a:p>
      </dgm:t>
    </dgm:pt>
    <dgm:pt modelId="{98B19911-2813-403E-92C4-A01761D5B942}">
      <dgm:prSet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Share Notes With People</a:t>
          </a:r>
          <a:endParaRPr lang="en-US" sz="1050" dirty="0"/>
        </a:p>
      </dgm:t>
    </dgm:pt>
    <dgm:pt modelId="{51227B36-43E3-481E-AFD8-9A8573D636FF}" type="parTrans" cxnId="{1F867E23-A9D8-4AD5-AEEB-E97DD6C0F06F}">
      <dgm:prSet/>
      <dgm:spPr/>
      <dgm:t>
        <a:bodyPr/>
        <a:lstStyle/>
        <a:p>
          <a:endParaRPr lang="en-US"/>
        </a:p>
      </dgm:t>
    </dgm:pt>
    <dgm:pt modelId="{9607D92C-13BB-48B4-8C49-C01228FE233A}" type="sibTrans" cxnId="{1F867E23-A9D8-4AD5-AEEB-E97DD6C0F06F}">
      <dgm:prSet/>
      <dgm:spPr/>
      <dgm:t>
        <a:bodyPr/>
        <a:lstStyle/>
        <a:p>
          <a:endParaRPr lang="en-US"/>
        </a:p>
      </dgm:t>
    </dgm:pt>
    <dgm:pt modelId="{27D6C0B8-3C3B-46CD-AA32-5B84DB59497C}">
      <dgm:prSet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Single System</a:t>
          </a:r>
          <a:endParaRPr lang="en-US" sz="1050" dirty="0"/>
        </a:p>
      </dgm:t>
    </dgm:pt>
    <dgm:pt modelId="{E0120E27-912A-4BD3-A25F-4BE9A7624450}" type="parTrans" cxnId="{6919A0CD-A67D-487B-B4FF-45BF226DF4B2}">
      <dgm:prSet/>
      <dgm:spPr/>
      <dgm:t>
        <a:bodyPr/>
        <a:lstStyle/>
        <a:p>
          <a:endParaRPr lang="en-US"/>
        </a:p>
      </dgm:t>
    </dgm:pt>
    <dgm:pt modelId="{DD509E06-9535-4CAD-AA49-24F07E1C6AF8}" type="sibTrans" cxnId="{6919A0CD-A67D-487B-B4FF-45BF226DF4B2}">
      <dgm:prSet/>
      <dgm:spPr/>
      <dgm:t>
        <a:bodyPr/>
        <a:lstStyle/>
        <a:p>
          <a:endParaRPr lang="en-US"/>
        </a:p>
      </dgm:t>
    </dgm:pt>
    <dgm:pt modelId="{B773D5EE-B636-4F43-B731-C2CFC63676EC}">
      <dgm:prSet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Locked Into A System</a:t>
          </a:r>
          <a:endParaRPr lang="en-US" sz="1050" dirty="0"/>
        </a:p>
      </dgm:t>
    </dgm:pt>
    <dgm:pt modelId="{AF0AFAF7-29AF-49F0-AAF1-DF000E90FA45}" type="parTrans" cxnId="{F6202ECC-A48C-4232-89A6-842981382917}">
      <dgm:prSet/>
      <dgm:spPr/>
      <dgm:t>
        <a:bodyPr/>
        <a:lstStyle/>
        <a:p>
          <a:endParaRPr lang="en-US"/>
        </a:p>
      </dgm:t>
    </dgm:pt>
    <dgm:pt modelId="{A4E5BD14-FA12-4AFD-8D52-87BA63CB13BC}" type="sibTrans" cxnId="{F6202ECC-A48C-4232-89A6-842981382917}">
      <dgm:prSet/>
      <dgm:spPr/>
      <dgm:t>
        <a:bodyPr/>
        <a:lstStyle/>
        <a:p>
          <a:endParaRPr lang="en-US"/>
        </a:p>
      </dgm:t>
    </dgm:pt>
    <dgm:pt modelId="{90B3CFED-87EA-4481-B187-96B0EC068142}">
      <dgm:prSet custT="1"/>
      <dgm:spPr>
        <a:ln>
          <a:solidFill>
            <a:schemeClr val="tx2"/>
          </a:solidFill>
        </a:ln>
      </dgm:spPr>
      <dgm:t>
        <a:bodyPr/>
        <a:lstStyle/>
        <a:p>
          <a:endParaRPr lang="en-US" sz="1050" dirty="0">
            <a:solidFill>
              <a:schemeClr val="tx2"/>
            </a:solidFill>
          </a:endParaRPr>
        </a:p>
      </dgm:t>
    </dgm:pt>
    <dgm:pt modelId="{A3B7380B-8009-4B3D-89AA-BE303AA49680}" type="parTrans" cxnId="{8303FC22-E0F0-4FC7-B521-08AA29D278E9}">
      <dgm:prSet/>
      <dgm:spPr/>
      <dgm:t>
        <a:bodyPr/>
        <a:lstStyle/>
        <a:p>
          <a:endParaRPr lang="en-US"/>
        </a:p>
      </dgm:t>
    </dgm:pt>
    <dgm:pt modelId="{F4801340-686E-4328-A9A7-825391E75716}" type="sibTrans" cxnId="{8303FC22-E0F0-4FC7-B521-08AA29D278E9}">
      <dgm:prSet/>
      <dgm:spPr/>
      <dgm:t>
        <a:bodyPr/>
        <a:lstStyle/>
        <a:p>
          <a:endParaRPr lang="en-US"/>
        </a:p>
      </dgm:t>
    </dgm:pt>
    <dgm:pt modelId="{89F32D09-0F10-46D4-BF24-D46621158740}">
      <dgm:prSet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Save Information</a:t>
          </a:r>
          <a:endParaRPr lang="en-US" sz="1050" dirty="0"/>
        </a:p>
      </dgm:t>
    </dgm:pt>
    <dgm:pt modelId="{A24A7B6D-2770-4854-A62C-4AF58794CCA6}" type="parTrans" cxnId="{107ED191-7A63-4C79-ABE8-98F35421B069}">
      <dgm:prSet/>
      <dgm:spPr/>
      <dgm:t>
        <a:bodyPr/>
        <a:lstStyle/>
        <a:p>
          <a:endParaRPr lang="en-US"/>
        </a:p>
      </dgm:t>
    </dgm:pt>
    <dgm:pt modelId="{37F905F3-6161-4DDA-9EF7-55CEE7C37A99}" type="sibTrans" cxnId="{107ED191-7A63-4C79-ABE8-98F35421B069}">
      <dgm:prSet/>
      <dgm:spPr/>
      <dgm:t>
        <a:bodyPr/>
        <a:lstStyle/>
        <a:p>
          <a:endParaRPr lang="en-US"/>
        </a:p>
      </dgm:t>
    </dgm:pt>
    <dgm:pt modelId="{27212398-99A9-4096-BBE7-6DC5849B653C}" type="pres">
      <dgm:prSet presAssocID="{A86AE60B-070A-4D9A-AF8B-43D0DE0BCB56}" presName="theList" presStyleCnt="0">
        <dgm:presLayoutVars>
          <dgm:dir/>
          <dgm:animLvl val="lvl"/>
          <dgm:resizeHandles val="exact"/>
        </dgm:presLayoutVars>
      </dgm:prSet>
      <dgm:spPr/>
    </dgm:pt>
    <dgm:pt modelId="{5269004A-CC66-4653-917D-A8F449CA4D6D}" type="pres">
      <dgm:prSet presAssocID="{C9D034DA-DB8E-4956-B03A-29C75F6CCEAC}" presName="compNode" presStyleCnt="0"/>
      <dgm:spPr/>
    </dgm:pt>
    <dgm:pt modelId="{DCC9FF93-CDFA-464A-A75F-C45C1317BB84}" type="pres">
      <dgm:prSet presAssocID="{C9D034DA-DB8E-4956-B03A-29C75F6CCEAC}" presName="aNode" presStyleLbl="bgShp" presStyleIdx="0" presStyleCnt="3" custLinFactY="-13950" custLinFactNeighborX="-39350" custLinFactNeighborY="-100000"/>
      <dgm:spPr>
        <a:prstGeom prst="rect">
          <a:avLst/>
        </a:prstGeom>
      </dgm:spPr>
    </dgm:pt>
    <dgm:pt modelId="{361A989A-9FFE-49D5-BC5B-C92E7DD08C70}" type="pres">
      <dgm:prSet presAssocID="{C9D034DA-DB8E-4956-B03A-29C75F6CCEAC}" presName="textNode" presStyleLbl="bgShp" presStyleIdx="0" presStyleCnt="3"/>
      <dgm:spPr/>
    </dgm:pt>
    <dgm:pt modelId="{AB62D1E5-68F5-45B5-BC79-35E7402B9309}" type="pres">
      <dgm:prSet presAssocID="{C9D034DA-DB8E-4956-B03A-29C75F6CCEAC}" presName="compChildNode" presStyleCnt="0"/>
      <dgm:spPr/>
    </dgm:pt>
    <dgm:pt modelId="{39446C4D-EFE8-4306-B48B-CE14890BF033}" type="pres">
      <dgm:prSet presAssocID="{C9D034DA-DB8E-4956-B03A-29C75F6CCEAC}" presName="theInnerList" presStyleCnt="0"/>
      <dgm:spPr/>
    </dgm:pt>
    <dgm:pt modelId="{103CEA5E-5250-4639-9E00-38A3A72ED0AE}" type="pres">
      <dgm:prSet presAssocID="{77634288-BCE1-435F-99A3-9297B2C954AE}" presName="childNode" presStyleLbl="node1" presStyleIdx="0" presStyleCnt="9">
        <dgm:presLayoutVars>
          <dgm:bulletEnabled val="1"/>
        </dgm:presLayoutVars>
      </dgm:prSet>
      <dgm:spPr>
        <a:prstGeom prst="rect">
          <a:avLst/>
        </a:prstGeom>
      </dgm:spPr>
    </dgm:pt>
    <dgm:pt modelId="{2810B1D5-7B79-4673-8287-FAE72BCE855A}" type="pres">
      <dgm:prSet presAssocID="{77634288-BCE1-435F-99A3-9297B2C954AE}" presName="aSpace2" presStyleCnt="0"/>
      <dgm:spPr/>
    </dgm:pt>
    <dgm:pt modelId="{F9442A7B-D862-45EF-AD5E-9A485DD285DC}" type="pres">
      <dgm:prSet presAssocID="{98B19911-2813-403E-92C4-A01761D5B942}" presName="childNode" presStyleLbl="node1" presStyleIdx="1" presStyleCnt="9">
        <dgm:presLayoutVars>
          <dgm:bulletEnabled val="1"/>
        </dgm:presLayoutVars>
      </dgm:prSet>
      <dgm:spPr>
        <a:prstGeom prst="rect">
          <a:avLst/>
        </a:prstGeom>
      </dgm:spPr>
    </dgm:pt>
    <dgm:pt modelId="{F59011FB-DF36-4EC7-A760-A61EA2B6F3A4}" type="pres">
      <dgm:prSet presAssocID="{98B19911-2813-403E-92C4-A01761D5B942}" presName="aSpace2" presStyleCnt="0"/>
      <dgm:spPr/>
    </dgm:pt>
    <dgm:pt modelId="{115FDD17-3BBD-40F9-A7DF-15CABE7FE409}" type="pres">
      <dgm:prSet presAssocID="{27D6C0B8-3C3B-46CD-AA32-5B84DB59497C}" presName="childNode" presStyleLbl="node1" presStyleIdx="2" presStyleCnt="9">
        <dgm:presLayoutVars>
          <dgm:bulletEnabled val="1"/>
        </dgm:presLayoutVars>
      </dgm:prSet>
      <dgm:spPr>
        <a:prstGeom prst="rect">
          <a:avLst/>
        </a:prstGeom>
      </dgm:spPr>
    </dgm:pt>
    <dgm:pt modelId="{CD503A7F-784D-4FF4-A2F5-8DF8E8FAB8C6}" type="pres">
      <dgm:prSet presAssocID="{C9D034DA-DB8E-4956-B03A-29C75F6CCEAC}" presName="aSpace" presStyleCnt="0"/>
      <dgm:spPr/>
    </dgm:pt>
    <dgm:pt modelId="{05CFE40A-EE31-4C59-8259-EB43D7FD2ED2}" type="pres">
      <dgm:prSet presAssocID="{2CB9DBDF-9A0C-4096-9173-9F2F590692AD}" presName="compNode" presStyleCnt="0"/>
      <dgm:spPr/>
    </dgm:pt>
    <dgm:pt modelId="{44F8A94C-ADB8-4FBD-8B5A-EE7E35D75EE7}" type="pres">
      <dgm:prSet presAssocID="{2CB9DBDF-9A0C-4096-9173-9F2F590692AD}" presName="aNode" presStyleLbl="bgShp" presStyleIdx="1" presStyleCnt="3"/>
      <dgm:spPr>
        <a:prstGeom prst="rect">
          <a:avLst/>
        </a:prstGeom>
      </dgm:spPr>
    </dgm:pt>
    <dgm:pt modelId="{1F34CE8E-6A1E-4673-AD9E-567525E2D530}" type="pres">
      <dgm:prSet presAssocID="{2CB9DBDF-9A0C-4096-9173-9F2F590692AD}" presName="textNode" presStyleLbl="bgShp" presStyleIdx="1" presStyleCnt="3"/>
      <dgm:spPr/>
    </dgm:pt>
    <dgm:pt modelId="{3836340B-A9A4-4C66-801D-90570CA49104}" type="pres">
      <dgm:prSet presAssocID="{2CB9DBDF-9A0C-4096-9173-9F2F590692AD}" presName="compChildNode" presStyleCnt="0"/>
      <dgm:spPr/>
    </dgm:pt>
    <dgm:pt modelId="{95349DDC-D086-4479-9FCA-629D37A69F7D}" type="pres">
      <dgm:prSet presAssocID="{2CB9DBDF-9A0C-4096-9173-9F2F590692AD}" presName="theInnerList" presStyleCnt="0"/>
      <dgm:spPr/>
    </dgm:pt>
    <dgm:pt modelId="{80619A5E-3149-4A6A-8CC9-E452CACC118D}" type="pres">
      <dgm:prSet presAssocID="{A9343295-894A-4F3D-8DFB-06F2B3C4F702}" presName="childNode" presStyleLbl="node1" presStyleIdx="3" presStyleCnt="9">
        <dgm:presLayoutVars>
          <dgm:bulletEnabled val="1"/>
        </dgm:presLayoutVars>
      </dgm:prSet>
      <dgm:spPr>
        <a:prstGeom prst="rect">
          <a:avLst/>
        </a:prstGeom>
      </dgm:spPr>
    </dgm:pt>
    <dgm:pt modelId="{10464A55-E266-4748-AF58-33B98F57BCC5}" type="pres">
      <dgm:prSet presAssocID="{A9343295-894A-4F3D-8DFB-06F2B3C4F702}" presName="aSpace2" presStyleCnt="0"/>
      <dgm:spPr/>
    </dgm:pt>
    <dgm:pt modelId="{000CFD3F-5AEB-4803-8AC3-658347500CC2}" type="pres">
      <dgm:prSet presAssocID="{B773D5EE-B636-4F43-B731-C2CFC63676EC}" presName="childNode" presStyleLbl="node1" presStyleIdx="4" presStyleCnt="9">
        <dgm:presLayoutVars>
          <dgm:bulletEnabled val="1"/>
        </dgm:presLayoutVars>
      </dgm:prSet>
      <dgm:spPr>
        <a:prstGeom prst="rect">
          <a:avLst/>
        </a:prstGeom>
      </dgm:spPr>
    </dgm:pt>
    <dgm:pt modelId="{D9D7B82A-FFC9-4E75-BAD6-75D64C803943}" type="pres">
      <dgm:prSet presAssocID="{B773D5EE-B636-4F43-B731-C2CFC63676EC}" presName="aSpace2" presStyleCnt="0"/>
      <dgm:spPr/>
    </dgm:pt>
    <dgm:pt modelId="{B141C6B4-22BD-40B9-A028-74CD3F8BBE78}" type="pres">
      <dgm:prSet presAssocID="{90B3CFED-87EA-4481-B187-96B0EC068142}" presName="childNode" presStyleLbl="node1" presStyleIdx="5" presStyleCnt="9">
        <dgm:presLayoutVars>
          <dgm:bulletEnabled val="1"/>
        </dgm:presLayoutVars>
      </dgm:prSet>
      <dgm:spPr>
        <a:prstGeom prst="rect">
          <a:avLst/>
        </a:prstGeom>
      </dgm:spPr>
    </dgm:pt>
    <dgm:pt modelId="{817CC127-D50D-4F87-9AF7-3DC370965C5B}" type="pres">
      <dgm:prSet presAssocID="{2CB9DBDF-9A0C-4096-9173-9F2F590692AD}" presName="aSpace" presStyleCnt="0"/>
      <dgm:spPr/>
    </dgm:pt>
    <dgm:pt modelId="{4D4900C9-4DF9-4BFA-A8CB-1E6450676201}" type="pres">
      <dgm:prSet presAssocID="{0AEA3E20-0A49-4A92-8B5F-BA0749CD9E33}" presName="compNode" presStyleCnt="0"/>
      <dgm:spPr/>
    </dgm:pt>
    <dgm:pt modelId="{EF468167-C67C-49C2-839A-C622F06CAB6F}" type="pres">
      <dgm:prSet presAssocID="{0AEA3E20-0A49-4A92-8B5F-BA0749CD9E33}" presName="aNode" presStyleLbl="bgShp" presStyleIdx="2" presStyleCnt="3"/>
      <dgm:spPr>
        <a:prstGeom prst="rect">
          <a:avLst/>
        </a:prstGeom>
      </dgm:spPr>
    </dgm:pt>
    <dgm:pt modelId="{3A36EDDC-26C9-41BA-B1A6-7FE662FBFCF3}" type="pres">
      <dgm:prSet presAssocID="{0AEA3E20-0A49-4A92-8B5F-BA0749CD9E33}" presName="textNode" presStyleLbl="bgShp" presStyleIdx="2" presStyleCnt="3"/>
      <dgm:spPr/>
    </dgm:pt>
    <dgm:pt modelId="{644D37D8-159C-446E-9C06-2A90C6D0F98E}" type="pres">
      <dgm:prSet presAssocID="{0AEA3E20-0A49-4A92-8B5F-BA0749CD9E33}" presName="compChildNode" presStyleCnt="0"/>
      <dgm:spPr/>
    </dgm:pt>
    <dgm:pt modelId="{5FB75FAD-B4FE-4D33-9541-524E6796E253}" type="pres">
      <dgm:prSet presAssocID="{0AEA3E20-0A49-4A92-8B5F-BA0749CD9E33}" presName="theInnerList" presStyleCnt="0"/>
      <dgm:spPr/>
    </dgm:pt>
    <dgm:pt modelId="{827D641A-6E1B-462B-82A1-481C9617923D}" type="pres">
      <dgm:prSet presAssocID="{00E726C2-C667-4E88-8035-7E8533B06383}" presName="childNode" presStyleLbl="node1" presStyleIdx="6" presStyleCnt="9">
        <dgm:presLayoutVars>
          <dgm:bulletEnabled val="1"/>
        </dgm:presLayoutVars>
      </dgm:prSet>
      <dgm:spPr>
        <a:prstGeom prst="rect">
          <a:avLst/>
        </a:prstGeom>
      </dgm:spPr>
    </dgm:pt>
    <dgm:pt modelId="{64B7E17B-AE48-4C81-B134-83589CD87099}" type="pres">
      <dgm:prSet presAssocID="{00E726C2-C667-4E88-8035-7E8533B06383}" presName="aSpace2" presStyleCnt="0"/>
      <dgm:spPr/>
    </dgm:pt>
    <dgm:pt modelId="{913ED80F-749A-4D6D-9FF6-2B22F5135659}" type="pres">
      <dgm:prSet presAssocID="{0C4DB261-AFF5-4736-B033-13BC35D33F32}" presName="childNode" presStyleLbl="node1" presStyleIdx="7" presStyleCnt="9">
        <dgm:presLayoutVars>
          <dgm:bulletEnabled val="1"/>
        </dgm:presLayoutVars>
      </dgm:prSet>
      <dgm:spPr>
        <a:prstGeom prst="rect">
          <a:avLst/>
        </a:prstGeom>
      </dgm:spPr>
    </dgm:pt>
    <dgm:pt modelId="{A2F79252-3966-420C-8452-536A25317A4E}" type="pres">
      <dgm:prSet presAssocID="{0C4DB261-AFF5-4736-B033-13BC35D33F32}" presName="aSpace2" presStyleCnt="0"/>
      <dgm:spPr/>
    </dgm:pt>
    <dgm:pt modelId="{DAF08508-6895-4B5B-8F0A-4D58A2121B51}" type="pres">
      <dgm:prSet presAssocID="{89F32D09-0F10-46D4-BF24-D46621158740}" presName="childNode" presStyleLbl="node1" presStyleIdx="8" presStyleCnt="9">
        <dgm:presLayoutVars>
          <dgm:bulletEnabled val="1"/>
        </dgm:presLayoutVars>
      </dgm:prSet>
      <dgm:spPr>
        <a:prstGeom prst="rect">
          <a:avLst/>
        </a:prstGeom>
      </dgm:spPr>
    </dgm:pt>
  </dgm:ptLst>
  <dgm:cxnLst>
    <dgm:cxn modelId="{1398FA13-A3D0-447E-8D2B-C84414105973}" type="presOf" srcId="{90B3CFED-87EA-4481-B187-96B0EC068142}" destId="{B141C6B4-22BD-40B9-A028-74CD3F8BBE78}" srcOrd="0" destOrd="0" presId="urn:microsoft.com/office/officeart/2005/8/layout/lProcess2"/>
    <dgm:cxn modelId="{EA2ECD16-2C41-4EE2-838F-6236B53E1890}" srcId="{0AEA3E20-0A49-4A92-8B5F-BA0749CD9E33}" destId="{00E726C2-C667-4E88-8035-7E8533B06383}" srcOrd="0" destOrd="0" parTransId="{FEA04DC9-0D85-4C73-94FA-F38D26E5D49C}" sibTransId="{2A63E21C-A5BA-4DF9-B424-072D634FC493}"/>
    <dgm:cxn modelId="{29076922-475B-49BB-8B65-71A06EDB1A59}" srcId="{A86AE60B-070A-4D9A-AF8B-43D0DE0BCB56}" destId="{C9D034DA-DB8E-4956-B03A-29C75F6CCEAC}" srcOrd="0" destOrd="0" parTransId="{EECCBB25-5895-44BE-8193-A44AB29F0C11}" sibTransId="{ABDF8AAD-3C03-4DD4-8939-42ECDD5BE967}"/>
    <dgm:cxn modelId="{8303FC22-E0F0-4FC7-B521-08AA29D278E9}" srcId="{2CB9DBDF-9A0C-4096-9173-9F2F590692AD}" destId="{90B3CFED-87EA-4481-B187-96B0EC068142}" srcOrd="2" destOrd="0" parTransId="{A3B7380B-8009-4B3D-89AA-BE303AA49680}" sibTransId="{F4801340-686E-4328-A9A7-825391E75716}"/>
    <dgm:cxn modelId="{1F867E23-A9D8-4AD5-AEEB-E97DD6C0F06F}" srcId="{C9D034DA-DB8E-4956-B03A-29C75F6CCEAC}" destId="{98B19911-2813-403E-92C4-A01761D5B942}" srcOrd="1" destOrd="0" parTransId="{51227B36-43E3-481E-AFD8-9A8573D636FF}" sibTransId="{9607D92C-13BB-48B4-8C49-C01228FE233A}"/>
    <dgm:cxn modelId="{3B6DD925-D6C5-442B-BEA7-724C1AF63396}" type="presOf" srcId="{77634288-BCE1-435F-99A3-9297B2C954AE}" destId="{103CEA5E-5250-4639-9E00-38A3A72ED0AE}" srcOrd="0" destOrd="0" presId="urn:microsoft.com/office/officeart/2005/8/layout/lProcess2"/>
    <dgm:cxn modelId="{06FAAD26-C8B0-436C-ADC0-48DCD6773590}" type="presOf" srcId="{2CB9DBDF-9A0C-4096-9173-9F2F590692AD}" destId="{44F8A94C-ADB8-4FBD-8B5A-EE7E35D75EE7}" srcOrd="0" destOrd="0" presId="urn:microsoft.com/office/officeart/2005/8/layout/lProcess2"/>
    <dgm:cxn modelId="{E56CDE2F-6A1B-4D4B-8CA0-DD05B40DB267}" type="presOf" srcId="{B773D5EE-B636-4F43-B731-C2CFC63676EC}" destId="{000CFD3F-5AEB-4803-8AC3-658347500CC2}" srcOrd="0" destOrd="0" presId="urn:microsoft.com/office/officeart/2005/8/layout/lProcess2"/>
    <dgm:cxn modelId="{AE21D433-E5D6-4109-AE86-8AA18EF57DAF}" type="presOf" srcId="{A9343295-894A-4F3D-8DFB-06F2B3C4F702}" destId="{80619A5E-3149-4A6A-8CC9-E452CACC118D}" srcOrd="0" destOrd="0" presId="urn:microsoft.com/office/officeart/2005/8/layout/lProcess2"/>
    <dgm:cxn modelId="{4275C440-7517-475D-82B9-9AF8B34683E5}" type="presOf" srcId="{27D6C0B8-3C3B-46CD-AA32-5B84DB59497C}" destId="{115FDD17-3BBD-40F9-A7DF-15CABE7FE409}" srcOrd="0" destOrd="0" presId="urn:microsoft.com/office/officeart/2005/8/layout/lProcess2"/>
    <dgm:cxn modelId="{3CA54641-8643-4D28-BE8D-BC143A6BF753}" type="presOf" srcId="{0C4DB261-AFF5-4736-B033-13BC35D33F32}" destId="{913ED80F-749A-4D6D-9FF6-2B22F5135659}" srcOrd="0" destOrd="0" presId="urn:microsoft.com/office/officeart/2005/8/layout/lProcess2"/>
    <dgm:cxn modelId="{144B5742-A8C8-4BDE-B65B-FFEE5874CD20}" type="presOf" srcId="{89F32D09-0F10-46D4-BF24-D46621158740}" destId="{DAF08508-6895-4B5B-8F0A-4D58A2121B51}" srcOrd="0" destOrd="0" presId="urn:microsoft.com/office/officeart/2005/8/layout/lProcess2"/>
    <dgm:cxn modelId="{D8A97C62-F6A5-4C6B-9928-B29846A79631}" type="presOf" srcId="{98B19911-2813-403E-92C4-A01761D5B942}" destId="{F9442A7B-D862-45EF-AD5E-9A485DD285DC}" srcOrd="0" destOrd="0" presId="urn:microsoft.com/office/officeart/2005/8/layout/lProcess2"/>
    <dgm:cxn modelId="{7ED1CC64-0522-4B22-9AD5-AB655E6201DC}" srcId="{A86AE60B-070A-4D9A-AF8B-43D0DE0BCB56}" destId="{2CB9DBDF-9A0C-4096-9173-9F2F590692AD}" srcOrd="1" destOrd="0" parTransId="{49B919B8-C609-4B75-A3C7-D5FC664AF13C}" sibTransId="{FAA0D767-3C02-455B-994D-E6777216F1CB}"/>
    <dgm:cxn modelId="{E2303A66-32F2-4CDA-8134-2A95DD296A99}" srcId="{C9D034DA-DB8E-4956-B03A-29C75F6CCEAC}" destId="{77634288-BCE1-435F-99A3-9297B2C954AE}" srcOrd="0" destOrd="0" parTransId="{CA50E07E-7507-4852-955F-873DD4DEE0EF}" sibTransId="{13CFE705-00DA-4318-95F4-87A86E750BA2}"/>
    <dgm:cxn modelId="{3179BF4D-DB08-487B-A41A-19E03484B46D}" type="presOf" srcId="{A86AE60B-070A-4D9A-AF8B-43D0DE0BCB56}" destId="{27212398-99A9-4096-BBE7-6DC5849B653C}" srcOrd="0" destOrd="0" presId="urn:microsoft.com/office/officeart/2005/8/layout/lProcess2"/>
    <dgm:cxn modelId="{D44FCB83-CA3C-4C2E-934E-4868E06FC511}" type="presOf" srcId="{C9D034DA-DB8E-4956-B03A-29C75F6CCEAC}" destId="{361A989A-9FFE-49D5-BC5B-C92E7DD08C70}" srcOrd="1" destOrd="0" presId="urn:microsoft.com/office/officeart/2005/8/layout/lProcess2"/>
    <dgm:cxn modelId="{107ED191-7A63-4C79-ABE8-98F35421B069}" srcId="{0AEA3E20-0A49-4A92-8B5F-BA0749CD9E33}" destId="{89F32D09-0F10-46D4-BF24-D46621158740}" srcOrd="2" destOrd="0" parTransId="{A24A7B6D-2770-4854-A62C-4AF58794CCA6}" sibTransId="{37F905F3-6161-4DDA-9EF7-55CEE7C37A99}"/>
    <dgm:cxn modelId="{2DC7CCA1-94B0-4CD6-9F3E-830827127F44}" srcId="{2CB9DBDF-9A0C-4096-9173-9F2F590692AD}" destId="{A9343295-894A-4F3D-8DFB-06F2B3C4F702}" srcOrd="0" destOrd="0" parTransId="{0E8AFDF3-F9E7-44F3-8A56-8C5EA64A56E9}" sibTransId="{38FBFE5E-991E-430B-A0C8-4FCB9CA009A1}"/>
    <dgm:cxn modelId="{A05AAFA2-4656-4D19-AD60-FCB1E8A7163E}" type="presOf" srcId="{C9D034DA-DB8E-4956-B03A-29C75F6CCEAC}" destId="{DCC9FF93-CDFA-464A-A75F-C45C1317BB84}" srcOrd="0" destOrd="0" presId="urn:microsoft.com/office/officeart/2005/8/layout/lProcess2"/>
    <dgm:cxn modelId="{7A6A84B1-CE94-484E-908A-8683DE7C9806}" type="presOf" srcId="{00E726C2-C667-4E88-8035-7E8533B06383}" destId="{827D641A-6E1B-462B-82A1-481C9617923D}" srcOrd="0" destOrd="0" presId="urn:microsoft.com/office/officeart/2005/8/layout/lProcess2"/>
    <dgm:cxn modelId="{E297F0BC-766F-46B7-99B9-1589B5671962}" type="presOf" srcId="{2CB9DBDF-9A0C-4096-9173-9F2F590692AD}" destId="{1F34CE8E-6A1E-4673-AD9E-567525E2D530}" srcOrd="1" destOrd="0" presId="urn:microsoft.com/office/officeart/2005/8/layout/lProcess2"/>
    <dgm:cxn modelId="{F6202ECC-A48C-4232-89A6-842981382917}" srcId="{2CB9DBDF-9A0C-4096-9173-9F2F590692AD}" destId="{B773D5EE-B636-4F43-B731-C2CFC63676EC}" srcOrd="1" destOrd="0" parTransId="{AF0AFAF7-29AF-49F0-AAF1-DF000E90FA45}" sibTransId="{A4E5BD14-FA12-4AFD-8D52-87BA63CB13BC}"/>
    <dgm:cxn modelId="{6919A0CD-A67D-487B-B4FF-45BF226DF4B2}" srcId="{C9D034DA-DB8E-4956-B03A-29C75F6CCEAC}" destId="{27D6C0B8-3C3B-46CD-AA32-5B84DB59497C}" srcOrd="2" destOrd="0" parTransId="{E0120E27-912A-4BD3-A25F-4BE9A7624450}" sibTransId="{DD509E06-9535-4CAD-AA49-24F07E1C6AF8}"/>
    <dgm:cxn modelId="{204890DD-FA65-44F9-91A7-7821F2EEE65E}" type="presOf" srcId="{0AEA3E20-0A49-4A92-8B5F-BA0749CD9E33}" destId="{3A36EDDC-26C9-41BA-B1A6-7FE662FBFCF3}" srcOrd="1" destOrd="0" presId="urn:microsoft.com/office/officeart/2005/8/layout/lProcess2"/>
    <dgm:cxn modelId="{44FABAEF-96DC-49D0-BF68-54C31FA3F06B}" srcId="{A86AE60B-070A-4D9A-AF8B-43D0DE0BCB56}" destId="{0AEA3E20-0A49-4A92-8B5F-BA0749CD9E33}" srcOrd="2" destOrd="0" parTransId="{903DA798-43CC-4FA9-84BC-D312DAC14C09}" sibTransId="{BA1A320B-09F7-4786-B205-FA61847B099E}"/>
    <dgm:cxn modelId="{785BACF6-DBA7-429F-BF6B-3D343D4DE008}" type="presOf" srcId="{0AEA3E20-0A49-4A92-8B5F-BA0749CD9E33}" destId="{EF468167-C67C-49C2-839A-C622F06CAB6F}" srcOrd="0" destOrd="0" presId="urn:microsoft.com/office/officeart/2005/8/layout/lProcess2"/>
    <dgm:cxn modelId="{2E511CFD-BC4E-43FD-ADD5-258467B55286}" srcId="{0AEA3E20-0A49-4A92-8B5F-BA0749CD9E33}" destId="{0C4DB261-AFF5-4736-B033-13BC35D33F32}" srcOrd="1" destOrd="0" parTransId="{05B89D92-BEA8-473E-93EA-89055D95B4DF}" sibTransId="{50E4AB63-A4C1-4BF1-8FFA-5C4710FB4AA2}"/>
    <dgm:cxn modelId="{2DD667C5-C682-47CD-B28C-CEBBFEE0149E}" type="presParOf" srcId="{27212398-99A9-4096-BBE7-6DC5849B653C}" destId="{5269004A-CC66-4653-917D-A8F449CA4D6D}" srcOrd="0" destOrd="0" presId="urn:microsoft.com/office/officeart/2005/8/layout/lProcess2"/>
    <dgm:cxn modelId="{98915CDC-836D-48B2-81AE-BAB879B9ED61}" type="presParOf" srcId="{5269004A-CC66-4653-917D-A8F449CA4D6D}" destId="{DCC9FF93-CDFA-464A-A75F-C45C1317BB84}" srcOrd="0" destOrd="0" presId="urn:microsoft.com/office/officeart/2005/8/layout/lProcess2"/>
    <dgm:cxn modelId="{82ED4958-4F37-4E28-B4A5-D80DD0830589}" type="presParOf" srcId="{5269004A-CC66-4653-917D-A8F449CA4D6D}" destId="{361A989A-9FFE-49D5-BC5B-C92E7DD08C70}" srcOrd="1" destOrd="0" presId="urn:microsoft.com/office/officeart/2005/8/layout/lProcess2"/>
    <dgm:cxn modelId="{1F568C40-10CA-427C-9CD3-BBF9B7F1E499}" type="presParOf" srcId="{5269004A-CC66-4653-917D-A8F449CA4D6D}" destId="{AB62D1E5-68F5-45B5-BC79-35E7402B9309}" srcOrd="2" destOrd="0" presId="urn:microsoft.com/office/officeart/2005/8/layout/lProcess2"/>
    <dgm:cxn modelId="{158AC660-4EE1-42D2-9AE5-9D90CD9BA262}" type="presParOf" srcId="{AB62D1E5-68F5-45B5-BC79-35E7402B9309}" destId="{39446C4D-EFE8-4306-B48B-CE14890BF033}" srcOrd="0" destOrd="0" presId="urn:microsoft.com/office/officeart/2005/8/layout/lProcess2"/>
    <dgm:cxn modelId="{4D5B201B-D852-41B5-8B20-38FF979E0EB2}" type="presParOf" srcId="{39446C4D-EFE8-4306-B48B-CE14890BF033}" destId="{103CEA5E-5250-4639-9E00-38A3A72ED0AE}" srcOrd="0" destOrd="0" presId="urn:microsoft.com/office/officeart/2005/8/layout/lProcess2"/>
    <dgm:cxn modelId="{465683C2-519E-4579-BBDA-87D1A351D7B0}" type="presParOf" srcId="{39446C4D-EFE8-4306-B48B-CE14890BF033}" destId="{2810B1D5-7B79-4673-8287-FAE72BCE855A}" srcOrd="1" destOrd="0" presId="urn:microsoft.com/office/officeart/2005/8/layout/lProcess2"/>
    <dgm:cxn modelId="{633421AE-F307-48CE-BBF4-80881401CE7F}" type="presParOf" srcId="{39446C4D-EFE8-4306-B48B-CE14890BF033}" destId="{F9442A7B-D862-45EF-AD5E-9A485DD285DC}" srcOrd="2" destOrd="0" presId="urn:microsoft.com/office/officeart/2005/8/layout/lProcess2"/>
    <dgm:cxn modelId="{93DC6AFB-F47C-47B7-82DF-96929FEFEF06}" type="presParOf" srcId="{39446C4D-EFE8-4306-B48B-CE14890BF033}" destId="{F59011FB-DF36-4EC7-A760-A61EA2B6F3A4}" srcOrd="3" destOrd="0" presId="urn:microsoft.com/office/officeart/2005/8/layout/lProcess2"/>
    <dgm:cxn modelId="{8F124D1E-CF24-462D-A956-67A733B5B25C}" type="presParOf" srcId="{39446C4D-EFE8-4306-B48B-CE14890BF033}" destId="{115FDD17-3BBD-40F9-A7DF-15CABE7FE409}" srcOrd="4" destOrd="0" presId="urn:microsoft.com/office/officeart/2005/8/layout/lProcess2"/>
    <dgm:cxn modelId="{9CA7A31B-E60B-493B-8E9A-5C0D065CA1B3}" type="presParOf" srcId="{27212398-99A9-4096-BBE7-6DC5849B653C}" destId="{CD503A7F-784D-4FF4-A2F5-8DF8E8FAB8C6}" srcOrd="1" destOrd="0" presId="urn:microsoft.com/office/officeart/2005/8/layout/lProcess2"/>
    <dgm:cxn modelId="{305B54FD-65A9-4D40-AE16-90FD5C0EB432}" type="presParOf" srcId="{27212398-99A9-4096-BBE7-6DC5849B653C}" destId="{05CFE40A-EE31-4C59-8259-EB43D7FD2ED2}" srcOrd="2" destOrd="0" presId="urn:microsoft.com/office/officeart/2005/8/layout/lProcess2"/>
    <dgm:cxn modelId="{58A946AF-27EB-4B5B-99E6-1C8354C5B6DF}" type="presParOf" srcId="{05CFE40A-EE31-4C59-8259-EB43D7FD2ED2}" destId="{44F8A94C-ADB8-4FBD-8B5A-EE7E35D75EE7}" srcOrd="0" destOrd="0" presId="urn:microsoft.com/office/officeart/2005/8/layout/lProcess2"/>
    <dgm:cxn modelId="{3E7A31EC-D6B8-43CC-88F4-48731DC0B13A}" type="presParOf" srcId="{05CFE40A-EE31-4C59-8259-EB43D7FD2ED2}" destId="{1F34CE8E-6A1E-4673-AD9E-567525E2D530}" srcOrd="1" destOrd="0" presId="urn:microsoft.com/office/officeart/2005/8/layout/lProcess2"/>
    <dgm:cxn modelId="{A6C9BB16-39F5-4CCD-A6EC-26F8723BE813}" type="presParOf" srcId="{05CFE40A-EE31-4C59-8259-EB43D7FD2ED2}" destId="{3836340B-A9A4-4C66-801D-90570CA49104}" srcOrd="2" destOrd="0" presId="urn:microsoft.com/office/officeart/2005/8/layout/lProcess2"/>
    <dgm:cxn modelId="{A8D86685-B9B9-4075-A304-D73DD39298FF}" type="presParOf" srcId="{3836340B-A9A4-4C66-801D-90570CA49104}" destId="{95349DDC-D086-4479-9FCA-629D37A69F7D}" srcOrd="0" destOrd="0" presId="urn:microsoft.com/office/officeart/2005/8/layout/lProcess2"/>
    <dgm:cxn modelId="{B489F524-E680-426F-B3A9-6FDF4B3774B0}" type="presParOf" srcId="{95349DDC-D086-4479-9FCA-629D37A69F7D}" destId="{80619A5E-3149-4A6A-8CC9-E452CACC118D}" srcOrd="0" destOrd="0" presId="urn:microsoft.com/office/officeart/2005/8/layout/lProcess2"/>
    <dgm:cxn modelId="{EAC992C5-252E-43B6-BFCC-6D7916E99D1B}" type="presParOf" srcId="{95349DDC-D086-4479-9FCA-629D37A69F7D}" destId="{10464A55-E266-4748-AF58-33B98F57BCC5}" srcOrd="1" destOrd="0" presId="urn:microsoft.com/office/officeart/2005/8/layout/lProcess2"/>
    <dgm:cxn modelId="{41F2920C-F83B-441D-84FB-055562883B64}" type="presParOf" srcId="{95349DDC-D086-4479-9FCA-629D37A69F7D}" destId="{000CFD3F-5AEB-4803-8AC3-658347500CC2}" srcOrd="2" destOrd="0" presId="urn:microsoft.com/office/officeart/2005/8/layout/lProcess2"/>
    <dgm:cxn modelId="{38FBC2AB-F321-4F21-A1C0-67C54117B0D7}" type="presParOf" srcId="{95349DDC-D086-4479-9FCA-629D37A69F7D}" destId="{D9D7B82A-FFC9-4E75-BAD6-75D64C803943}" srcOrd="3" destOrd="0" presId="urn:microsoft.com/office/officeart/2005/8/layout/lProcess2"/>
    <dgm:cxn modelId="{A174FD8D-BE51-4D51-979F-DBDD978F9B20}" type="presParOf" srcId="{95349DDC-D086-4479-9FCA-629D37A69F7D}" destId="{B141C6B4-22BD-40B9-A028-74CD3F8BBE78}" srcOrd="4" destOrd="0" presId="urn:microsoft.com/office/officeart/2005/8/layout/lProcess2"/>
    <dgm:cxn modelId="{29511C7D-5303-479A-860E-EEA676400AC1}" type="presParOf" srcId="{27212398-99A9-4096-BBE7-6DC5849B653C}" destId="{817CC127-D50D-4F87-9AF7-3DC370965C5B}" srcOrd="3" destOrd="0" presId="urn:microsoft.com/office/officeart/2005/8/layout/lProcess2"/>
    <dgm:cxn modelId="{D0296203-133C-40D4-99A3-B5FD6AFE4485}" type="presParOf" srcId="{27212398-99A9-4096-BBE7-6DC5849B653C}" destId="{4D4900C9-4DF9-4BFA-A8CB-1E6450676201}" srcOrd="4" destOrd="0" presId="urn:microsoft.com/office/officeart/2005/8/layout/lProcess2"/>
    <dgm:cxn modelId="{B51AC1FD-8C4D-4A7A-B9BE-7EE4460EC939}" type="presParOf" srcId="{4D4900C9-4DF9-4BFA-A8CB-1E6450676201}" destId="{EF468167-C67C-49C2-839A-C622F06CAB6F}" srcOrd="0" destOrd="0" presId="urn:microsoft.com/office/officeart/2005/8/layout/lProcess2"/>
    <dgm:cxn modelId="{EB146452-AE35-413E-B03B-08B758A6397A}" type="presParOf" srcId="{4D4900C9-4DF9-4BFA-A8CB-1E6450676201}" destId="{3A36EDDC-26C9-41BA-B1A6-7FE662FBFCF3}" srcOrd="1" destOrd="0" presId="urn:microsoft.com/office/officeart/2005/8/layout/lProcess2"/>
    <dgm:cxn modelId="{AE09551D-58F9-4A28-9191-FA7A4F1D68FC}" type="presParOf" srcId="{4D4900C9-4DF9-4BFA-A8CB-1E6450676201}" destId="{644D37D8-159C-446E-9C06-2A90C6D0F98E}" srcOrd="2" destOrd="0" presId="urn:microsoft.com/office/officeart/2005/8/layout/lProcess2"/>
    <dgm:cxn modelId="{2289AC73-D87E-4AB3-8FCD-02388E956452}" type="presParOf" srcId="{644D37D8-159C-446E-9C06-2A90C6D0F98E}" destId="{5FB75FAD-B4FE-4D33-9541-524E6796E253}" srcOrd="0" destOrd="0" presId="urn:microsoft.com/office/officeart/2005/8/layout/lProcess2"/>
    <dgm:cxn modelId="{514F3B3B-FAF6-4DEF-B727-495FDE2E1C5E}" type="presParOf" srcId="{5FB75FAD-B4FE-4D33-9541-524E6796E253}" destId="{827D641A-6E1B-462B-82A1-481C9617923D}" srcOrd="0" destOrd="0" presId="urn:microsoft.com/office/officeart/2005/8/layout/lProcess2"/>
    <dgm:cxn modelId="{813727CB-3AB6-479F-8E47-CF37E547FDA2}" type="presParOf" srcId="{5FB75FAD-B4FE-4D33-9541-524E6796E253}" destId="{64B7E17B-AE48-4C81-B134-83589CD87099}" srcOrd="1" destOrd="0" presId="urn:microsoft.com/office/officeart/2005/8/layout/lProcess2"/>
    <dgm:cxn modelId="{94C2BC26-A549-4D0F-BBC2-85E6F197491C}" type="presParOf" srcId="{5FB75FAD-B4FE-4D33-9541-524E6796E253}" destId="{913ED80F-749A-4D6D-9FF6-2B22F5135659}" srcOrd="2" destOrd="0" presId="urn:microsoft.com/office/officeart/2005/8/layout/lProcess2"/>
    <dgm:cxn modelId="{B5FFDB5E-670D-47C3-8513-C7F6E17FF924}" type="presParOf" srcId="{5FB75FAD-B4FE-4D33-9541-524E6796E253}" destId="{A2F79252-3966-420C-8452-536A25317A4E}" srcOrd="3" destOrd="0" presId="urn:microsoft.com/office/officeart/2005/8/layout/lProcess2"/>
    <dgm:cxn modelId="{16208439-5349-4012-A1D6-9CEFF51B4101}" type="presParOf" srcId="{5FB75FAD-B4FE-4D33-9541-524E6796E253}" destId="{DAF08508-6895-4B5B-8F0A-4D58A2121B51}" srcOrd="4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86AE60B-070A-4D9A-AF8B-43D0DE0BCB56}" type="doc">
      <dgm:prSet loTypeId="urn:microsoft.com/office/officeart/2005/8/layout/lProcess2" loCatId="list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C9D034DA-DB8E-4956-B03A-29C75F6CCEAC}">
      <dgm:prSet phldrT="[Text]" custT="1"/>
      <dgm:spPr/>
      <dgm:t>
        <a:bodyPr/>
        <a:lstStyle/>
        <a:p>
          <a:r>
            <a:rPr lang="en-US" sz="1600" dirty="0">
              <a:cs typeface="Segoe UI" panose="020B0502040204020203" pitchFamily="34" charset="0"/>
            </a:rPr>
            <a:t>Benefits</a:t>
          </a:r>
          <a:endParaRPr lang="en-US" sz="1600" dirty="0"/>
        </a:p>
      </dgm:t>
    </dgm:pt>
    <dgm:pt modelId="{EECCBB25-5895-44BE-8193-A44AB29F0C11}" type="parTrans" cxnId="{29076922-475B-49BB-8B65-71A06EDB1A59}">
      <dgm:prSet/>
      <dgm:spPr/>
      <dgm:t>
        <a:bodyPr/>
        <a:lstStyle/>
        <a:p>
          <a:endParaRPr lang="en-US"/>
        </a:p>
      </dgm:t>
    </dgm:pt>
    <dgm:pt modelId="{ABDF8AAD-3C03-4DD4-8939-42ECDD5BE967}" type="sibTrans" cxnId="{29076922-475B-49BB-8B65-71A06EDB1A59}">
      <dgm:prSet/>
      <dgm:spPr/>
      <dgm:t>
        <a:bodyPr/>
        <a:lstStyle/>
        <a:p>
          <a:endParaRPr lang="en-US"/>
        </a:p>
      </dgm:t>
    </dgm:pt>
    <dgm:pt modelId="{77634288-BCE1-435F-99A3-9297B2C954AE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Simple</a:t>
          </a:r>
          <a:endParaRPr lang="en-US" sz="1050" dirty="0"/>
        </a:p>
      </dgm:t>
    </dgm:pt>
    <dgm:pt modelId="{CA50E07E-7507-4852-955F-873DD4DEE0EF}" type="parTrans" cxnId="{E2303A66-32F2-4CDA-8134-2A95DD296A99}">
      <dgm:prSet/>
      <dgm:spPr/>
      <dgm:t>
        <a:bodyPr/>
        <a:lstStyle/>
        <a:p>
          <a:endParaRPr lang="en-US"/>
        </a:p>
      </dgm:t>
    </dgm:pt>
    <dgm:pt modelId="{13CFE705-00DA-4318-95F4-87A86E750BA2}" type="sibTrans" cxnId="{E2303A66-32F2-4CDA-8134-2A95DD296A99}">
      <dgm:prSet/>
      <dgm:spPr/>
      <dgm:t>
        <a:bodyPr/>
        <a:lstStyle/>
        <a:p>
          <a:endParaRPr lang="en-US"/>
        </a:p>
      </dgm:t>
    </dgm:pt>
    <dgm:pt modelId="{769B9F8E-7B82-4582-A45B-0569850E0362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/>
            <a:t> </a:t>
          </a:r>
          <a:endParaRPr lang="en-US" sz="1050" dirty="0"/>
        </a:p>
      </dgm:t>
    </dgm:pt>
    <dgm:pt modelId="{C3D98E48-F8E4-4A4C-8697-F7692835C6F5}" type="parTrans" cxnId="{D3589BEB-10A5-4EE1-B044-594EBF26486B}">
      <dgm:prSet/>
      <dgm:spPr/>
      <dgm:t>
        <a:bodyPr/>
        <a:lstStyle/>
        <a:p>
          <a:endParaRPr lang="en-US"/>
        </a:p>
      </dgm:t>
    </dgm:pt>
    <dgm:pt modelId="{A53E673C-6C6D-43FE-BA0C-C75422B2585D}" type="sibTrans" cxnId="{D3589BEB-10A5-4EE1-B044-594EBF26486B}">
      <dgm:prSet/>
      <dgm:spPr/>
      <dgm:t>
        <a:bodyPr/>
        <a:lstStyle/>
        <a:p>
          <a:endParaRPr lang="en-US"/>
        </a:p>
      </dgm:t>
    </dgm:pt>
    <dgm:pt modelId="{2CB9DBDF-9A0C-4096-9173-9F2F590692AD}">
      <dgm:prSet phldrT="[Text]" custT="1"/>
      <dgm:spPr/>
      <dgm:t>
        <a:bodyPr/>
        <a:lstStyle/>
        <a:p>
          <a:r>
            <a:rPr lang="en-US" sz="1600" dirty="0">
              <a:cs typeface="Segoe UI" panose="020B0502040204020203" pitchFamily="34" charset="0"/>
            </a:rPr>
            <a:t>Experience</a:t>
          </a:r>
          <a:endParaRPr lang="en-US" sz="1600" dirty="0"/>
        </a:p>
      </dgm:t>
    </dgm:pt>
    <dgm:pt modelId="{49B919B8-C609-4B75-A3C7-D5FC664AF13C}" type="parTrans" cxnId="{7ED1CC64-0522-4B22-9AD5-AB655E6201DC}">
      <dgm:prSet/>
      <dgm:spPr/>
      <dgm:t>
        <a:bodyPr/>
        <a:lstStyle/>
        <a:p>
          <a:endParaRPr lang="en-US"/>
        </a:p>
      </dgm:t>
    </dgm:pt>
    <dgm:pt modelId="{FAA0D767-3C02-455B-994D-E6777216F1CB}" type="sibTrans" cxnId="{7ED1CC64-0522-4B22-9AD5-AB655E6201DC}">
      <dgm:prSet/>
      <dgm:spPr/>
      <dgm:t>
        <a:bodyPr/>
        <a:lstStyle/>
        <a:p>
          <a:endParaRPr lang="en-US"/>
        </a:p>
      </dgm:t>
    </dgm:pt>
    <dgm:pt modelId="{A9343295-894A-4F3D-8DFB-06F2B3C4F702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Everything Everywhere</a:t>
          </a:r>
          <a:endParaRPr lang="en-US" sz="1050" dirty="0"/>
        </a:p>
      </dgm:t>
    </dgm:pt>
    <dgm:pt modelId="{0E8AFDF3-F9E7-44F3-8A56-8C5EA64A56E9}" type="parTrans" cxnId="{2DC7CCA1-94B0-4CD6-9F3E-830827127F44}">
      <dgm:prSet/>
      <dgm:spPr/>
      <dgm:t>
        <a:bodyPr/>
        <a:lstStyle/>
        <a:p>
          <a:endParaRPr lang="en-US"/>
        </a:p>
      </dgm:t>
    </dgm:pt>
    <dgm:pt modelId="{38FBFE5E-991E-430B-A0C8-4FCB9CA009A1}" type="sibTrans" cxnId="{2DC7CCA1-94B0-4CD6-9F3E-830827127F44}">
      <dgm:prSet/>
      <dgm:spPr/>
      <dgm:t>
        <a:bodyPr/>
        <a:lstStyle/>
        <a:p>
          <a:endParaRPr lang="en-US"/>
        </a:p>
      </dgm:t>
    </dgm:pt>
    <dgm:pt modelId="{C2422016-A7B6-4EFF-B16F-45E0C33EADF9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Remember Everything</a:t>
          </a:r>
          <a:endParaRPr lang="en-US" sz="1050" dirty="0"/>
        </a:p>
      </dgm:t>
    </dgm:pt>
    <dgm:pt modelId="{24AED4AF-63B3-47B5-9816-2D2BF0F2BD61}" type="parTrans" cxnId="{00FB2B28-EB65-4BB3-B1ED-339995802076}">
      <dgm:prSet/>
      <dgm:spPr/>
      <dgm:t>
        <a:bodyPr/>
        <a:lstStyle/>
        <a:p>
          <a:endParaRPr lang="en-US"/>
        </a:p>
      </dgm:t>
    </dgm:pt>
    <dgm:pt modelId="{06D2926B-E2A0-4C6B-8443-1D69AC2AB0A3}" type="sibTrans" cxnId="{00FB2B28-EB65-4BB3-B1ED-339995802076}">
      <dgm:prSet/>
      <dgm:spPr/>
      <dgm:t>
        <a:bodyPr/>
        <a:lstStyle/>
        <a:p>
          <a:endParaRPr lang="en-US"/>
        </a:p>
      </dgm:t>
    </dgm:pt>
    <dgm:pt modelId="{0AEA3E20-0A49-4A92-8B5F-BA0749CD9E33}">
      <dgm:prSet phldrT="[Text]" custT="1"/>
      <dgm:spPr/>
      <dgm:t>
        <a:bodyPr/>
        <a:lstStyle/>
        <a:p>
          <a:r>
            <a:rPr lang="en-US" sz="1600" dirty="0">
              <a:cs typeface="Segoe UI" panose="020B0502040204020203" pitchFamily="34" charset="0"/>
            </a:rPr>
            <a:t>Features</a:t>
          </a:r>
          <a:endParaRPr lang="en-US" sz="1600" dirty="0"/>
        </a:p>
      </dgm:t>
    </dgm:pt>
    <dgm:pt modelId="{903DA798-43CC-4FA9-84BC-D312DAC14C09}" type="parTrans" cxnId="{44FABAEF-96DC-49D0-BF68-54C31FA3F06B}">
      <dgm:prSet/>
      <dgm:spPr/>
      <dgm:t>
        <a:bodyPr/>
        <a:lstStyle/>
        <a:p>
          <a:endParaRPr lang="en-US"/>
        </a:p>
      </dgm:t>
    </dgm:pt>
    <dgm:pt modelId="{BA1A320B-09F7-4786-B205-FA61847B099E}" type="sibTrans" cxnId="{44FABAEF-96DC-49D0-BF68-54C31FA3F06B}">
      <dgm:prSet/>
      <dgm:spPr/>
      <dgm:t>
        <a:bodyPr/>
        <a:lstStyle/>
        <a:p>
          <a:endParaRPr lang="en-US"/>
        </a:p>
      </dgm:t>
    </dgm:pt>
    <dgm:pt modelId="{00E726C2-C667-4E88-8035-7E8533B06383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Sync Across Devices</a:t>
          </a:r>
          <a:endParaRPr lang="en-US" sz="1050" dirty="0"/>
        </a:p>
      </dgm:t>
    </dgm:pt>
    <dgm:pt modelId="{FEA04DC9-0D85-4C73-94FA-F38D26E5D49C}" type="parTrans" cxnId="{EA2ECD16-2C41-4EE2-838F-6236B53E1890}">
      <dgm:prSet/>
      <dgm:spPr/>
      <dgm:t>
        <a:bodyPr/>
        <a:lstStyle/>
        <a:p>
          <a:endParaRPr lang="en-US"/>
        </a:p>
      </dgm:t>
    </dgm:pt>
    <dgm:pt modelId="{2A63E21C-A5BA-4DF9-B424-072D634FC493}" type="sibTrans" cxnId="{EA2ECD16-2C41-4EE2-838F-6236B53E1890}">
      <dgm:prSet/>
      <dgm:spPr/>
      <dgm:t>
        <a:bodyPr/>
        <a:lstStyle/>
        <a:p>
          <a:endParaRPr lang="en-US"/>
        </a:p>
      </dgm:t>
    </dgm:pt>
    <dgm:pt modelId="{0C4DB261-AFF5-4736-B033-13BC35D33F32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Include Images</a:t>
          </a:r>
          <a:endParaRPr lang="en-US" sz="1050" dirty="0"/>
        </a:p>
      </dgm:t>
    </dgm:pt>
    <dgm:pt modelId="{05B89D92-BEA8-473E-93EA-89055D95B4DF}" type="parTrans" cxnId="{2E511CFD-BC4E-43FD-ADD5-258467B55286}">
      <dgm:prSet/>
      <dgm:spPr/>
      <dgm:t>
        <a:bodyPr/>
        <a:lstStyle/>
        <a:p>
          <a:endParaRPr lang="en-US"/>
        </a:p>
      </dgm:t>
    </dgm:pt>
    <dgm:pt modelId="{50E4AB63-A4C1-4BF1-8FFA-5C4710FB4AA2}" type="sibTrans" cxnId="{2E511CFD-BC4E-43FD-ADD5-258467B55286}">
      <dgm:prSet/>
      <dgm:spPr/>
      <dgm:t>
        <a:bodyPr/>
        <a:lstStyle/>
        <a:p>
          <a:endParaRPr lang="en-US"/>
        </a:p>
      </dgm:t>
    </dgm:pt>
    <dgm:pt modelId="{98B19911-2813-403E-92C4-A01761D5B942}">
      <dgm:prSet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Easy Syncing</a:t>
          </a:r>
          <a:endParaRPr lang="en-US" sz="1050" dirty="0"/>
        </a:p>
      </dgm:t>
    </dgm:pt>
    <dgm:pt modelId="{51227B36-43E3-481E-AFD8-9A8573D636FF}" type="parTrans" cxnId="{1F867E23-A9D8-4AD5-AEEB-E97DD6C0F06F}">
      <dgm:prSet/>
      <dgm:spPr/>
      <dgm:t>
        <a:bodyPr/>
        <a:lstStyle/>
        <a:p>
          <a:endParaRPr lang="en-US"/>
        </a:p>
      </dgm:t>
    </dgm:pt>
    <dgm:pt modelId="{9607D92C-13BB-48B4-8C49-C01228FE233A}" type="sibTrans" cxnId="{1F867E23-A9D8-4AD5-AEEB-E97DD6C0F06F}">
      <dgm:prSet/>
      <dgm:spPr/>
      <dgm:t>
        <a:bodyPr/>
        <a:lstStyle/>
        <a:p>
          <a:endParaRPr lang="en-US"/>
        </a:p>
      </dgm:t>
    </dgm:pt>
    <dgm:pt modelId="{27D6C0B8-3C3B-46CD-AA32-5B84DB59497C}">
      <dgm:prSet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Fast To Use</a:t>
          </a:r>
          <a:endParaRPr lang="en-US" sz="1050" dirty="0"/>
        </a:p>
      </dgm:t>
    </dgm:pt>
    <dgm:pt modelId="{E0120E27-912A-4BD3-A25F-4BE9A7624450}" type="parTrans" cxnId="{6919A0CD-A67D-487B-B4FF-45BF226DF4B2}">
      <dgm:prSet/>
      <dgm:spPr/>
      <dgm:t>
        <a:bodyPr/>
        <a:lstStyle/>
        <a:p>
          <a:endParaRPr lang="en-US"/>
        </a:p>
      </dgm:t>
    </dgm:pt>
    <dgm:pt modelId="{DD509E06-9535-4CAD-AA49-24F07E1C6AF8}" type="sibTrans" cxnId="{6919A0CD-A67D-487B-B4FF-45BF226DF4B2}">
      <dgm:prSet/>
      <dgm:spPr/>
      <dgm:t>
        <a:bodyPr/>
        <a:lstStyle/>
        <a:p>
          <a:endParaRPr lang="en-US"/>
        </a:p>
      </dgm:t>
    </dgm:pt>
    <dgm:pt modelId="{B773D5EE-B636-4F43-B731-C2CFC63676EC}">
      <dgm:prSet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Never Forget</a:t>
          </a:r>
          <a:endParaRPr lang="en-US" sz="1050" dirty="0"/>
        </a:p>
      </dgm:t>
    </dgm:pt>
    <dgm:pt modelId="{AF0AFAF7-29AF-49F0-AAF1-DF000E90FA45}" type="parTrans" cxnId="{F6202ECC-A48C-4232-89A6-842981382917}">
      <dgm:prSet/>
      <dgm:spPr/>
      <dgm:t>
        <a:bodyPr/>
        <a:lstStyle/>
        <a:p>
          <a:endParaRPr lang="en-US"/>
        </a:p>
      </dgm:t>
    </dgm:pt>
    <dgm:pt modelId="{A4E5BD14-FA12-4AFD-8D52-87BA63CB13BC}" type="sibTrans" cxnId="{F6202ECC-A48C-4232-89A6-842981382917}">
      <dgm:prSet/>
      <dgm:spPr/>
      <dgm:t>
        <a:bodyPr/>
        <a:lstStyle/>
        <a:p>
          <a:endParaRPr lang="en-US"/>
        </a:p>
      </dgm:t>
    </dgm:pt>
    <dgm:pt modelId="{90B3CFED-87EA-4481-B187-96B0EC068142}">
      <dgm:prSet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External Brain</a:t>
          </a:r>
          <a:endParaRPr lang="en-US" sz="1050" dirty="0"/>
        </a:p>
      </dgm:t>
    </dgm:pt>
    <dgm:pt modelId="{A3B7380B-8009-4B3D-89AA-BE303AA49680}" type="parTrans" cxnId="{8303FC22-E0F0-4FC7-B521-08AA29D278E9}">
      <dgm:prSet/>
      <dgm:spPr/>
      <dgm:t>
        <a:bodyPr/>
        <a:lstStyle/>
        <a:p>
          <a:endParaRPr lang="en-US"/>
        </a:p>
      </dgm:t>
    </dgm:pt>
    <dgm:pt modelId="{F4801340-686E-4328-A9A7-825391E75716}" type="sibTrans" cxnId="{8303FC22-E0F0-4FC7-B521-08AA29D278E9}">
      <dgm:prSet/>
      <dgm:spPr/>
      <dgm:t>
        <a:bodyPr/>
        <a:lstStyle/>
        <a:p>
          <a:endParaRPr lang="en-US"/>
        </a:p>
      </dgm:t>
    </dgm:pt>
    <dgm:pt modelId="{89F32D09-0F10-46D4-BF24-D46621158740}">
      <dgm:prSet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 dirty="0">
              <a:cs typeface="Segoe UI" panose="020B0502040204020203" pitchFamily="34" charset="0"/>
            </a:rPr>
            <a:t>Rich Metadata</a:t>
          </a:r>
          <a:endParaRPr lang="en-US" sz="1050" dirty="0"/>
        </a:p>
      </dgm:t>
    </dgm:pt>
    <dgm:pt modelId="{A24A7B6D-2770-4854-A62C-4AF58794CCA6}" type="parTrans" cxnId="{107ED191-7A63-4C79-ABE8-98F35421B069}">
      <dgm:prSet/>
      <dgm:spPr/>
      <dgm:t>
        <a:bodyPr/>
        <a:lstStyle/>
        <a:p>
          <a:endParaRPr lang="en-US"/>
        </a:p>
      </dgm:t>
    </dgm:pt>
    <dgm:pt modelId="{37F905F3-6161-4DDA-9EF7-55CEE7C37A99}" type="sibTrans" cxnId="{107ED191-7A63-4C79-ABE8-98F35421B069}">
      <dgm:prSet/>
      <dgm:spPr/>
      <dgm:t>
        <a:bodyPr/>
        <a:lstStyle/>
        <a:p>
          <a:endParaRPr lang="en-US"/>
        </a:p>
      </dgm:t>
    </dgm:pt>
    <dgm:pt modelId="{41FA22B2-9876-4139-9B9A-3186350F0626}">
      <dgm:prSet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050"/>
            <a:t> </a:t>
          </a:r>
          <a:endParaRPr lang="en-US" sz="1050" dirty="0"/>
        </a:p>
      </dgm:t>
    </dgm:pt>
    <dgm:pt modelId="{C86A8F76-3594-4B8B-BAEC-BA821E5C89F3}" type="parTrans" cxnId="{25FC57CC-A789-49EA-8350-1D61B9442491}">
      <dgm:prSet/>
      <dgm:spPr/>
      <dgm:t>
        <a:bodyPr/>
        <a:lstStyle/>
        <a:p>
          <a:endParaRPr lang="en-US"/>
        </a:p>
      </dgm:t>
    </dgm:pt>
    <dgm:pt modelId="{DEDAEFC3-4C7E-4038-ADC3-CC2906BAF209}" type="sibTrans" cxnId="{25FC57CC-A789-49EA-8350-1D61B9442491}">
      <dgm:prSet/>
      <dgm:spPr/>
      <dgm:t>
        <a:bodyPr/>
        <a:lstStyle/>
        <a:p>
          <a:endParaRPr lang="en-US"/>
        </a:p>
      </dgm:t>
    </dgm:pt>
    <dgm:pt modelId="{27212398-99A9-4096-BBE7-6DC5849B653C}" type="pres">
      <dgm:prSet presAssocID="{A86AE60B-070A-4D9A-AF8B-43D0DE0BCB56}" presName="theList" presStyleCnt="0">
        <dgm:presLayoutVars>
          <dgm:dir/>
          <dgm:animLvl val="lvl"/>
          <dgm:resizeHandles val="exact"/>
        </dgm:presLayoutVars>
      </dgm:prSet>
      <dgm:spPr/>
    </dgm:pt>
    <dgm:pt modelId="{5269004A-CC66-4653-917D-A8F449CA4D6D}" type="pres">
      <dgm:prSet presAssocID="{C9D034DA-DB8E-4956-B03A-29C75F6CCEAC}" presName="compNode" presStyleCnt="0"/>
      <dgm:spPr/>
    </dgm:pt>
    <dgm:pt modelId="{DCC9FF93-CDFA-464A-A75F-C45C1317BB84}" type="pres">
      <dgm:prSet presAssocID="{C9D034DA-DB8E-4956-B03A-29C75F6CCEAC}" presName="aNode" presStyleLbl="bgShp" presStyleIdx="0" presStyleCnt="3" custLinFactNeighborX="1734" custLinFactNeighborY="0"/>
      <dgm:spPr>
        <a:prstGeom prst="rect">
          <a:avLst/>
        </a:prstGeom>
      </dgm:spPr>
    </dgm:pt>
    <dgm:pt modelId="{361A989A-9FFE-49D5-BC5B-C92E7DD08C70}" type="pres">
      <dgm:prSet presAssocID="{C9D034DA-DB8E-4956-B03A-29C75F6CCEAC}" presName="textNode" presStyleLbl="bgShp" presStyleIdx="0" presStyleCnt="3"/>
      <dgm:spPr/>
    </dgm:pt>
    <dgm:pt modelId="{AB62D1E5-68F5-45B5-BC79-35E7402B9309}" type="pres">
      <dgm:prSet presAssocID="{C9D034DA-DB8E-4956-B03A-29C75F6CCEAC}" presName="compChildNode" presStyleCnt="0"/>
      <dgm:spPr/>
    </dgm:pt>
    <dgm:pt modelId="{39446C4D-EFE8-4306-B48B-CE14890BF033}" type="pres">
      <dgm:prSet presAssocID="{C9D034DA-DB8E-4956-B03A-29C75F6CCEAC}" presName="theInnerList" presStyleCnt="0"/>
      <dgm:spPr/>
    </dgm:pt>
    <dgm:pt modelId="{103CEA5E-5250-4639-9E00-38A3A72ED0AE}" type="pres">
      <dgm:prSet presAssocID="{77634288-BCE1-435F-99A3-9297B2C954AE}" presName="childNode" presStyleLbl="node1" presStyleIdx="0" presStyleCnt="12">
        <dgm:presLayoutVars>
          <dgm:bulletEnabled val="1"/>
        </dgm:presLayoutVars>
      </dgm:prSet>
      <dgm:spPr>
        <a:prstGeom prst="rect">
          <a:avLst/>
        </a:prstGeom>
      </dgm:spPr>
    </dgm:pt>
    <dgm:pt modelId="{2810B1D5-7B79-4673-8287-FAE72BCE855A}" type="pres">
      <dgm:prSet presAssocID="{77634288-BCE1-435F-99A3-9297B2C954AE}" presName="aSpace2" presStyleCnt="0"/>
      <dgm:spPr/>
    </dgm:pt>
    <dgm:pt modelId="{F9442A7B-D862-45EF-AD5E-9A485DD285DC}" type="pres">
      <dgm:prSet presAssocID="{98B19911-2813-403E-92C4-A01761D5B942}" presName="childNode" presStyleLbl="node1" presStyleIdx="1" presStyleCnt="12">
        <dgm:presLayoutVars>
          <dgm:bulletEnabled val="1"/>
        </dgm:presLayoutVars>
      </dgm:prSet>
      <dgm:spPr>
        <a:prstGeom prst="rect">
          <a:avLst/>
        </a:prstGeom>
      </dgm:spPr>
    </dgm:pt>
    <dgm:pt modelId="{F59011FB-DF36-4EC7-A760-A61EA2B6F3A4}" type="pres">
      <dgm:prSet presAssocID="{98B19911-2813-403E-92C4-A01761D5B942}" presName="aSpace2" presStyleCnt="0"/>
      <dgm:spPr/>
    </dgm:pt>
    <dgm:pt modelId="{115FDD17-3BBD-40F9-A7DF-15CABE7FE409}" type="pres">
      <dgm:prSet presAssocID="{27D6C0B8-3C3B-46CD-AA32-5B84DB59497C}" presName="childNode" presStyleLbl="node1" presStyleIdx="2" presStyleCnt="12">
        <dgm:presLayoutVars>
          <dgm:bulletEnabled val="1"/>
        </dgm:presLayoutVars>
      </dgm:prSet>
      <dgm:spPr>
        <a:prstGeom prst="rect">
          <a:avLst/>
        </a:prstGeom>
      </dgm:spPr>
    </dgm:pt>
    <dgm:pt modelId="{F2A1E11F-4C44-4612-968E-3DB025231551}" type="pres">
      <dgm:prSet presAssocID="{27D6C0B8-3C3B-46CD-AA32-5B84DB59497C}" presName="aSpace2" presStyleCnt="0"/>
      <dgm:spPr/>
    </dgm:pt>
    <dgm:pt modelId="{45A6A965-9598-417E-9FE7-9420FC64036A}" type="pres">
      <dgm:prSet presAssocID="{769B9F8E-7B82-4582-A45B-0569850E0362}" presName="childNode" presStyleLbl="node1" presStyleIdx="3" presStyleCnt="12">
        <dgm:presLayoutVars>
          <dgm:bulletEnabled val="1"/>
        </dgm:presLayoutVars>
      </dgm:prSet>
      <dgm:spPr>
        <a:prstGeom prst="rect">
          <a:avLst/>
        </a:prstGeom>
      </dgm:spPr>
    </dgm:pt>
    <dgm:pt modelId="{CD503A7F-784D-4FF4-A2F5-8DF8E8FAB8C6}" type="pres">
      <dgm:prSet presAssocID="{C9D034DA-DB8E-4956-B03A-29C75F6CCEAC}" presName="aSpace" presStyleCnt="0"/>
      <dgm:spPr/>
    </dgm:pt>
    <dgm:pt modelId="{05CFE40A-EE31-4C59-8259-EB43D7FD2ED2}" type="pres">
      <dgm:prSet presAssocID="{2CB9DBDF-9A0C-4096-9173-9F2F590692AD}" presName="compNode" presStyleCnt="0"/>
      <dgm:spPr/>
    </dgm:pt>
    <dgm:pt modelId="{44F8A94C-ADB8-4FBD-8B5A-EE7E35D75EE7}" type="pres">
      <dgm:prSet presAssocID="{2CB9DBDF-9A0C-4096-9173-9F2F590692AD}" presName="aNode" presStyleLbl="bgShp" presStyleIdx="1" presStyleCnt="3"/>
      <dgm:spPr>
        <a:prstGeom prst="rect">
          <a:avLst/>
        </a:prstGeom>
      </dgm:spPr>
    </dgm:pt>
    <dgm:pt modelId="{1F34CE8E-6A1E-4673-AD9E-567525E2D530}" type="pres">
      <dgm:prSet presAssocID="{2CB9DBDF-9A0C-4096-9173-9F2F590692AD}" presName="textNode" presStyleLbl="bgShp" presStyleIdx="1" presStyleCnt="3"/>
      <dgm:spPr/>
    </dgm:pt>
    <dgm:pt modelId="{3836340B-A9A4-4C66-801D-90570CA49104}" type="pres">
      <dgm:prSet presAssocID="{2CB9DBDF-9A0C-4096-9173-9F2F590692AD}" presName="compChildNode" presStyleCnt="0"/>
      <dgm:spPr/>
    </dgm:pt>
    <dgm:pt modelId="{95349DDC-D086-4479-9FCA-629D37A69F7D}" type="pres">
      <dgm:prSet presAssocID="{2CB9DBDF-9A0C-4096-9173-9F2F590692AD}" presName="theInnerList" presStyleCnt="0"/>
      <dgm:spPr/>
    </dgm:pt>
    <dgm:pt modelId="{80619A5E-3149-4A6A-8CC9-E452CACC118D}" type="pres">
      <dgm:prSet presAssocID="{A9343295-894A-4F3D-8DFB-06F2B3C4F702}" presName="childNode" presStyleLbl="node1" presStyleIdx="4" presStyleCnt="12">
        <dgm:presLayoutVars>
          <dgm:bulletEnabled val="1"/>
        </dgm:presLayoutVars>
      </dgm:prSet>
      <dgm:spPr>
        <a:prstGeom prst="rect">
          <a:avLst/>
        </a:prstGeom>
      </dgm:spPr>
    </dgm:pt>
    <dgm:pt modelId="{10464A55-E266-4748-AF58-33B98F57BCC5}" type="pres">
      <dgm:prSet presAssocID="{A9343295-894A-4F3D-8DFB-06F2B3C4F702}" presName="aSpace2" presStyleCnt="0"/>
      <dgm:spPr/>
    </dgm:pt>
    <dgm:pt modelId="{000CFD3F-5AEB-4803-8AC3-658347500CC2}" type="pres">
      <dgm:prSet presAssocID="{B773D5EE-B636-4F43-B731-C2CFC63676EC}" presName="childNode" presStyleLbl="node1" presStyleIdx="5" presStyleCnt="12">
        <dgm:presLayoutVars>
          <dgm:bulletEnabled val="1"/>
        </dgm:presLayoutVars>
      </dgm:prSet>
      <dgm:spPr>
        <a:prstGeom prst="rect">
          <a:avLst/>
        </a:prstGeom>
      </dgm:spPr>
    </dgm:pt>
    <dgm:pt modelId="{D9D7B82A-FFC9-4E75-BAD6-75D64C803943}" type="pres">
      <dgm:prSet presAssocID="{B773D5EE-B636-4F43-B731-C2CFC63676EC}" presName="aSpace2" presStyleCnt="0"/>
      <dgm:spPr/>
    </dgm:pt>
    <dgm:pt modelId="{B141C6B4-22BD-40B9-A028-74CD3F8BBE78}" type="pres">
      <dgm:prSet presAssocID="{90B3CFED-87EA-4481-B187-96B0EC068142}" presName="childNode" presStyleLbl="node1" presStyleIdx="6" presStyleCnt="12">
        <dgm:presLayoutVars>
          <dgm:bulletEnabled val="1"/>
        </dgm:presLayoutVars>
      </dgm:prSet>
      <dgm:spPr>
        <a:prstGeom prst="rect">
          <a:avLst/>
        </a:prstGeom>
      </dgm:spPr>
    </dgm:pt>
    <dgm:pt modelId="{229627E3-0F20-49A8-878C-16E21D23ACCC}" type="pres">
      <dgm:prSet presAssocID="{90B3CFED-87EA-4481-B187-96B0EC068142}" presName="aSpace2" presStyleCnt="0"/>
      <dgm:spPr/>
    </dgm:pt>
    <dgm:pt modelId="{3596C622-89ED-46BB-88ED-FCBB6585C138}" type="pres">
      <dgm:prSet presAssocID="{C2422016-A7B6-4EFF-B16F-45E0C33EADF9}" presName="childNode" presStyleLbl="node1" presStyleIdx="7" presStyleCnt="12">
        <dgm:presLayoutVars>
          <dgm:bulletEnabled val="1"/>
        </dgm:presLayoutVars>
      </dgm:prSet>
      <dgm:spPr>
        <a:prstGeom prst="rect">
          <a:avLst/>
        </a:prstGeom>
      </dgm:spPr>
    </dgm:pt>
    <dgm:pt modelId="{817CC127-D50D-4F87-9AF7-3DC370965C5B}" type="pres">
      <dgm:prSet presAssocID="{2CB9DBDF-9A0C-4096-9173-9F2F590692AD}" presName="aSpace" presStyleCnt="0"/>
      <dgm:spPr/>
    </dgm:pt>
    <dgm:pt modelId="{4D4900C9-4DF9-4BFA-A8CB-1E6450676201}" type="pres">
      <dgm:prSet presAssocID="{0AEA3E20-0A49-4A92-8B5F-BA0749CD9E33}" presName="compNode" presStyleCnt="0"/>
      <dgm:spPr/>
    </dgm:pt>
    <dgm:pt modelId="{EF468167-C67C-49C2-839A-C622F06CAB6F}" type="pres">
      <dgm:prSet presAssocID="{0AEA3E20-0A49-4A92-8B5F-BA0749CD9E33}" presName="aNode" presStyleLbl="bgShp" presStyleIdx="2" presStyleCnt="3"/>
      <dgm:spPr>
        <a:prstGeom prst="rect">
          <a:avLst/>
        </a:prstGeom>
      </dgm:spPr>
    </dgm:pt>
    <dgm:pt modelId="{3A36EDDC-26C9-41BA-B1A6-7FE662FBFCF3}" type="pres">
      <dgm:prSet presAssocID="{0AEA3E20-0A49-4A92-8B5F-BA0749CD9E33}" presName="textNode" presStyleLbl="bgShp" presStyleIdx="2" presStyleCnt="3"/>
      <dgm:spPr/>
    </dgm:pt>
    <dgm:pt modelId="{644D37D8-159C-446E-9C06-2A90C6D0F98E}" type="pres">
      <dgm:prSet presAssocID="{0AEA3E20-0A49-4A92-8B5F-BA0749CD9E33}" presName="compChildNode" presStyleCnt="0"/>
      <dgm:spPr/>
    </dgm:pt>
    <dgm:pt modelId="{5FB75FAD-B4FE-4D33-9541-524E6796E253}" type="pres">
      <dgm:prSet presAssocID="{0AEA3E20-0A49-4A92-8B5F-BA0749CD9E33}" presName="theInnerList" presStyleCnt="0"/>
      <dgm:spPr/>
    </dgm:pt>
    <dgm:pt modelId="{827D641A-6E1B-462B-82A1-481C9617923D}" type="pres">
      <dgm:prSet presAssocID="{00E726C2-C667-4E88-8035-7E8533B06383}" presName="childNode" presStyleLbl="node1" presStyleIdx="8" presStyleCnt="12">
        <dgm:presLayoutVars>
          <dgm:bulletEnabled val="1"/>
        </dgm:presLayoutVars>
      </dgm:prSet>
      <dgm:spPr>
        <a:prstGeom prst="rect">
          <a:avLst/>
        </a:prstGeom>
      </dgm:spPr>
    </dgm:pt>
    <dgm:pt modelId="{64B7E17B-AE48-4C81-B134-83589CD87099}" type="pres">
      <dgm:prSet presAssocID="{00E726C2-C667-4E88-8035-7E8533B06383}" presName="aSpace2" presStyleCnt="0"/>
      <dgm:spPr/>
    </dgm:pt>
    <dgm:pt modelId="{913ED80F-749A-4D6D-9FF6-2B22F5135659}" type="pres">
      <dgm:prSet presAssocID="{0C4DB261-AFF5-4736-B033-13BC35D33F32}" presName="childNode" presStyleLbl="node1" presStyleIdx="9" presStyleCnt="12">
        <dgm:presLayoutVars>
          <dgm:bulletEnabled val="1"/>
        </dgm:presLayoutVars>
      </dgm:prSet>
      <dgm:spPr>
        <a:prstGeom prst="rect">
          <a:avLst/>
        </a:prstGeom>
      </dgm:spPr>
    </dgm:pt>
    <dgm:pt modelId="{A2F79252-3966-420C-8452-536A25317A4E}" type="pres">
      <dgm:prSet presAssocID="{0C4DB261-AFF5-4736-B033-13BC35D33F32}" presName="aSpace2" presStyleCnt="0"/>
      <dgm:spPr/>
    </dgm:pt>
    <dgm:pt modelId="{DAF08508-6895-4B5B-8F0A-4D58A2121B51}" type="pres">
      <dgm:prSet presAssocID="{89F32D09-0F10-46D4-BF24-D46621158740}" presName="childNode" presStyleLbl="node1" presStyleIdx="10" presStyleCnt="12">
        <dgm:presLayoutVars>
          <dgm:bulletEnabled val="1"/>
        </dgm:presLayoutVars>
      </dgm:prSet>
      <dgm:spPr>
        <a:prstGeom prst="rect">
          <a:avLst/>
        </a:prstGeom>
      </dgm:spPr>
    </dgm:pt>
    <dgm:pt modelId="{2A51B021-88F1-49AA-BBAD-61F3A9A70CEA}" type="pres">
      <dgm:prSet presAssocID="{89F32D09-0F10-46D4-BF24-D46621158740}" presName="aSpace2" presStyleCnt="0"/>
      <dgm:spPr/>
    </dgm:pt>
    <dgm:pt modelId="{FF11490A-0A44-47B2-85BA-9FD1CC063C90}" type="pres">
      <dgm:prSet presAssocID="{41FA22B2-9876-4139-9B9A-3186350F0626}" presName="childNode" presStyleLbl="node1" presStyleIdx="11" presStyleCnt="12">
        <dgm:presLayoutVars>
          <dgm:bulletEnabled val="1"/>
        </dgm:presLayoutVars>
      </dgm:prSet>
      <dgm:spPr>
        <a:prstGeom prst="rect">
          <a:avLst/>
        </a:prstGeom>
      </dgm:spPr>
    </dgm:pt>
  </dgm:ptLst>
  <dgm:cxnLst>
    <dgm:cxn modelId="{1398FA13-A3D0-447E-8D2B-C84414105973}" type="presOf" srcId="{90B3CFED-87EA-4481-B187-96B0EC068142}" destId="{B141C6B4-22BD-40B9-A028-74CD3F8BBE78}" srcOrd="0" destOrd="0" presId="urn:microsoft.com/office/officeart/2005/8/layout/lProcess2"/>
    <dgm:cxn modelId="{EA2ECD16-2C41-4EE2-838F-6236B53E1890}" srcId="{0AEA3E20-0A49-4A92-8B5F-BA0749CD9E33}" destId="{00E726C2-C667-4E88-8035-7E8533B06383}" srcOrd="0" destOrd="0" parTransId="{FEA04DC9-0D85-4C73-94FA-F38D26E5D49C}" sibTransId="{2A63E21C-A5BA-4DF9-B424-072D634FC493}"/>
    <dgm:cxn modelId="{6D6DDB17-5481-4FB7-A84E-E1A8FBD83049}" type="presOf" srcId="{769B9F8E-7B82-4582-A45B-0569850E0362}" destId="{45A6A965-9598-417E-9FE7-9420FC64036A}" srcOrd="0" destOrd="0" presId="urn:microsoft.com/office/officeart/2005/8/layout/lProcess2"/>
    <dgm:cxn modelId="{29076922-475B-49BB-8B65-71A06EDB1A59}" srcId="{A86AE60B-070A-4D9A-AF8B-43D0DE0BCB56}" destId="{C9D034DA-DB8E-4956-B03A-29C75F6CCEAC}" srcOrd="0" destOrd="0" parTransId="{EECCBB25-5895-44BE-8193-A44AB29F0C11}" sibTransId="{ABDF8AAD-3C03-4DD4-8939-42ECDD5BE967}"/>
    <dgm:cxn modelId="{8303FC22-E0F0-4FC7-B521-08AA29D278E9}" srcId="{2CB9DBDF-9A0C-4096-9173-9F2F590692AD}" destId="{90B3CFED-87EA-4481-B187-96B0EC068142}" srcOrd="2" destOrd="0" parTransId="{A3B7380B-8009-4B3D-89AA-BE303AA49680}" sibTransId="{F4801340-686E-4328-A9A7-825391E75716}"/>
    <dgm:cxn modelId="{1F867E23-A9D8-4AD5-AEEB-E97DD6C0F06F}" srcId="{C9D034DA-DB8E-4956-B03A-29C75F6CCEAC}" destId="{98B19911-2813-403E-92C4-A01761D5B942}" srcOrd="1" destOrd="0" parTransId="{51227B36-43E3-481E-AFD8-9A8573D636FF}" sibTransId="{9607D92C-13BB-48B4-8C49-C01228FE233A}"/>
    <dgm:cxn modelId="{3B6DD925-D6C5-442B-BEA7-724C1AF63396}" type="presOf" srcId="{77634288-BCE1-435F-99A3-9297B2C954AE}" destId="{103CEA5E-5250-4639-9E00-38A3A72ED0AE}" srcOrd="0" destOrd="0" presId="urn:microsoft.com/office/officeart/2005/8/layout/lProcess2"/>
    <dgm:cxn modelId="{06FAAD26-C8B0-436C-ADC0-48DCD6773590}" type="presOf" srcId="{2CB9DBDF-9A0C-4096-9173-9F2F590692AD}" destId="{44F8A94C-ADB8-4FBD-8B5A-EE7E35D75EE7}" srcOrd="0" destOrd="0" presId="urn:microsoft.com/office/officeart/2005/8/layout/lProcess2"/>
    <dgm:cxn modelId="{00FB2B28-EB65-4BB3-B1ED-339995802076}" srcId="{2CB9DBDF-9A0C-4096-9173-9F2F590692AD}" destId="{C2422016-A7B6-4EFF-B16F-45E0C33EADF9}" srcOrd="3" destOrd="0" parTransId="{24AED4AF-63B3-47B5-9816-2D2BF0F2BD61}" sibTransId="{06D2926B-E2A0-4C6B-8443-1D69AC2AB0A3}"/>
    <dgm:cxn modelId="{E56CDE2F-6A1B-4D4B-8CA0-DD05B40DB267}" type="presOf" srcId="{B773D5EE-B636-4F43-B731-C2CFC63676EC}" destId="{000CFD3F-5AEB-4803-8AC3-658347500CC2}" srcOrd="0" destOrd="0" presId="urn:microsoft.com/office/officeart/2005/8/layout/lProcess2"/>
    <dgm:cxn modelId="{AE21D433-E5D6-4109-AE86-8AA18EF57DAF}" type="presOf" srcId="{A9343295-894A-4F3D-8DFB-06F2B3C4F702}" destId="{80619A5E-3149-4A6A-8CC9-E452CACC118D}" srcOrd="0" destOrd="0" presId="urn:microsoft.com/office/officeart/2005/8/layout/lProcess2"/>
    <dgm:cxn modelId="{4275C440-7517-475D-82B9-9AF8B34683E5}" type="presOf" srcId="{27D6C0B8-3C3B-46CD-AA32-5B84DB59497C}" destId="{115FDD17-3BBD-40F9-A7DF-15CABE7FE409}" srcOrd="0" destOrd="0" presId="urn:microsoft.com/office/officeart/2005/8/layout/lProcess2"/>
    <dgm:cxn modelId="{3CA54641-8643-4D28-BE8D-BC143A6BF753}" type="presOf" srcId="{0C4DB261-AFF5-4736-B033-13BC35D33F32}" destId="{913ED80F-749A-4D6D-9FF6-2B22F5135659}" srcOrd="0" destOrd="0" presId="urn:microsoft.com/office/officeart/2005/8/layout/lProcess2"/>
    <dgm:cxn modelId="{144B5742-A8C8-4BDE-B65B-FFEE5874CD20}" type="presOf" srcId="{89F32D09-0F10-46D4-BF24-D46621158740}" destId="{DAF08508-6895-4B5B-8F0A-4D58A2121B51}" srcOrd="0" destOrd="0" presId="urn:microsoft.com/office/officeart/2005/8/layout/lProcess2"/>
    <dgm:cxn modelId="{D8A97C62-F6A5-4C6B-9928-B29846A79631}" type="presOf" srcId="{98B19911-2813-403E-92C4-A01761D5B942}" destId="{F9442A7B-D862-45EF-AD5E-9A485DD285DC}" srcOrd="0" destOrd="0" presId="urn:microsoft.com/office/officeart/2005/8/layout/lProcess2"/>
    <dgm:cxn modelId="{7ED1CC64-0522-4B22-9AD5-AB655E6201DC}" srcId="{A86AE60B-070A-4D9A-AF8B-43D0DE0BCB56}" destId="{2CB9DBDF-9A0C-4096-9173-9F2F590692AD}" srcOrd="1" destOrd="0" parTransId="{49B919B8-C609-4B75-A3C7-D5FC664AF13C}" sibTransId="{FAA0D767-3C02-455B-994D-E6777216F1CB}"/>
    <dgm:cxn modelId="{E2303A66-32F2-4CDA-8134-2A95DD296A99}" srcId="{C9D034DA-DB8E-4956-B03A-29C75F6CCEAC}" destId="{77634288-BCE1-435F-99A3-9297B2C954AE}" srcOrd="0" destOrd="0" parTransId="{CA50E07E-7507-4852-955F-873DD4DEE0EF}" sibTransId="{13CFE705-00DA-4318-95F4-87A86E750BA2}"/>
    <dgm:cxn modelId="{3179BF4D-DB08-487B-A41A-19E03484B46D}" type="presOf" srcId="{A86AE60B-070A-4D9A-AF8B-43D0DE0BCB56}" destId="{27212398-99A9-4096-BBE7-6DC5849B653C}" srcOrd="0" destOrd="0" presId="urn:microsoft.com/office/officeart/2005/8/layout/lProcess2"/>
    <dgm:cxn modelId="{D44FCB83-CA3C-4C2E-934E-4868E06FC511}" type="presOf" srcId="{C9D034DA-DB8E-4956-B03A-29C75F6CCEAC}" destId="{361A989A-9FFE-49D5-BC5B-C92E7DD08C70}" srcOrd="1" destOrd="0" presId="urn:microsoft.com/office/officeart/2005/8/layout/lProcess2"/>
    <dgm:cxn modelId="{107ED191-7A63-4C79-ABE8-98F35421B069}" srcId="{0AEA3E20-0A49-4A92-8B5F-BA0749CD9E33}" destId="{89F32D09-0F10-46D4-BF24-D46621158740}" srcOrd="2" destOrd="0" parTransId="{A24A7B6D-2770-4854-A62C-4AF58794CCA6}" sibTransId="{37F905F3-6161-4DDA-9EF7-55CEE7C37A99}"/>
    <dgm:cxn modelId="{07C59594-7EA3-4AD7-8AD7-547EDEE700CA}" type="presOf" srcId="{41FA22B2-9876-4139-9B9A-3186350F0626}" destId="{FF11490A-0A44-47B2-85BA-9FD1CC063C90}" srcOrd="0" destOrd="0" presId="urn:microsoft.com/office/officeart/2005/8/layout/lProcess2"/>
    <dgm:cxn modelId="{2DC7CCA1-94B0-4CD6-9F3E-830827127F44}" srcId="{2CB9DBDF-9A0C-4096-9173-9F2F590692AD}" destId="{A9343295-894A-4F3D-8DFB-06F2B3C4F702}" srcOrd="0" destOrd="0" parTransId="{0E8AFDF3-F9E7-44F3-8A56-8C5EA64A56E9}" sibTransId="{38FBFE5E-991E-430B-A0C8-4FCB9CA009A1}"/>
    <dgm:cxn modelId="{A05AAFA2-4656-4D19-AD60-FCB1E8A7163E}" type="presOf" srcId="{C9D034DA-DB8E-4956-B03A-29C75F6CCEAC}" destId="{DCC9FF93-CDFA-464A-A75F-C45C1317BB84}" srcOrd="0" destOrd="0" presId="urn:microsoft.com/office/officeart/2005/8/layout/lProcess2"/>
    <dgm:cxn modelId="{E24DF8A4-5B13-4BAC-BF0B-07BC77D24821}" type="presOf" srcId="{C2422016-A7B6-4EFF-B16F-45E0C33EADF9}" destId="{3596C622-89ED-46BB-88ED-FCBB6585C138}" srcOrd="0" destOrd="0" presId="urn:microsoft.com/office/officeart/2005/8/layout/lProcess2"/>
    <dgm:cxn modelId="{7A6A84B1-CE94-484E-908A-8683DE7C9806}" type="presOf" srcId="{00E726C2-C667-4E88-8035-7E8533B06383}" destId="{827D641A-6E1B-462B-82A1-481C9617923D}" srcOrd="0" destOrd="0" presId="urn:microsoft.com/office/officeart/2005/8/layout/lProcess2"/>
    <dgm:cxn modelId="{E297F0BC-766F-46B7-99B9-1589B5671962}" type="presOf" srcId="{2CB9DBDF-9A0C-4096-9173-9F2F590692AD}" destId="{1F34CE8E-6A1E-4673-AD9E-567525E2D530}" srcOrd="1" destOrd="0" presId="urn:microsoft.com/office/officeart/2005/8/layout/lProcess2"/>
    <dgm:cxn modelId="{F6202ECC-A48C-4232-89A6-842981382917}" srcId="{2CB9DBDF-9A0C-4096-9173-9F2F590692AD}" destId="{B773D5EE-B636-4F43-B731-C2CFC63676EC}" srcOrd="1" destOrd="0" parTransId="{AF0AFAF7-29AF-49F0-AAF1-DF000E90FA45}" sibTransId="{A4E5BD14-FA12-4AFD-8D52-87BA63CB13BC}"/>
    <dgm:cxn modelId="{25FC57CC-A789-49EA-8350-1D61B9442491}" srcId="{0AEA3E20-0A49-4A92-8B5F-BA0749CD9E33}" destId="{41FA22B2-9876-4139-9B9A-3186350F0626}" srcOrd="3" destOrd="0" parTransId="{C86A8F76-3594-4B8B-BAEC-BA821E5C89F3}" sibTransId="{DEDAEFC3-4C7E-4038-ADC3-CC2906BAF209}"/>
    <dgm:cxn modelId="{6919A0CD-A67D-487B-B4FF-45BF226DF4B2}" srcId="{C9D034DA-DB8E-4956-B03A-29C75F6CCEAC}" destId="{27D6C0B8-3C3B-46CD-AA32-5B84DB59497C}" srcOrd="2" destOrd="0" parTransId="{E0120E27-912A-4BD3-A25F-4BE9A7624450}" sibTransId="{DD509E06-9535-4CAD-AA49-24F07E1C6AF8}"/>
    <dgm:cxn modelId="{204890DD-FA65-44F9-91A7-7821F2EEE65E}" type="presOf" srcId="{0AEA3E20-0A49-4A92-8B5F-BA0749CD9E33}" destId="{3A36EDDC-26C9-41BA-B1A6-7FE662FBFCF3}" srcOrd="1" destOrd="0" presId="urn:microsoft.com/office/officeart/2005/8/layout/lProcess2"/>
    <dgm:cxn modelId="{D3589BEB-10A5-4EE1-B044-594EBF26486B}" srcId="{C9D034DA-DB8E-4956-B03A-29C75F6CCEAC}" destId="{769B9F8E-7B82-4582-A45B-0569850E0362}" srcOrd="3" destOrd="0" parTransId="{C3D98E48-F8E4-4A4C-8697-F7692835C6F5}" sibTransId="{A53E673C-6C6D-43FE-BA0C-C75422B2585D}"/>
    <dgm:cxn modelId="{44FABAEF-96DC-49D0-BF68-54C31FA3F06B}" srcId="{A86AE60B-070A-4D9A-AF8B-43D0DE0BCB56}" destId="{0AEA3E20-0A49-4A92-8B5F-BA0749CD9E33}" srcOrd="2" destOrd="0" parTransId="{903DA798-43CC-4FA9-84BC-D312DAC14C09}" sibTransId="{BA1A320B-09F7-4786-B205-FA61847B099E}"/>
    <dgm:cxn modelId="{785BACF6-DBA7-429F-BF6B-3D343D4DE008}" type="presOf" srcId="{0AEA3E20-0A49-4A92-8B5F-BA0749CD9E33}" destId="{EF468167-C67C-49C2-839A-C622F06CAB6F}" srcOrd="0" destOrd="0" presId="urn:microsoft.com/office/officeart/2005/8/layout/lProcess2"/>
    <dgm:cxn modelId="{2E511CFD-BC4E-43FD-ADD5-258467B55286}" srcId="{0AEA3E20-0A49-4A92-8B5F-BA0749CD9E33}" destId="{0C4DB261-AFF5-4736-B033-13BC35D33F32}" srcOrd="1" destOrd="0" parTransId="{05B89D92-BEA8-473E-93EA-89055D95B4DF}" sibTransId="{50E4AB63-A4C1-4BF1-8FFA-5C4710FB4AA2}"/>
    <dgm:cxn modelId="{2DD667C5-C682-47CD-B28C-CEBBFEE0149E}" type="presParOf" srcId="{27212398-99A9-4096-BBE7-6DC5849B653C}" destId="{5269004A-CC66-4653-917D-A8F449CA4D6D}" srcOrd="0" destOrd="0" presId="urn:microsoft.com/office/officeart/2005/8/layout/lProcess2"/>
    <dgm:cxn modelId="{98915CDC-836D-48B2-81AE-BAB879B9ED61}" type="presParOf" srcId="{5269004A-CC66-4653-917D-A8F449CA4D6D}" destId="{DCC9FF93-CDFA-464A-A75F-C45C1317BB84}" srcOrd="0" destOrd="0" presId="urn:microsoft.com/office/officeart/2005/8/layout/lProcess2"/>
    <dgm:cxn modelId="{82ED4958-4F37-4E28-B4A5-D80DD0830589}" type="presParOf" srcId="{5269004A-CC66-4653-917D-A8F449CA4D6D}" destId="{361A989A-9FFE-49D5-BC5B-C92E7DD08C70}" srcOrd="1" destOrd="0" presId="urn:microsoft.com/office/officeart/2005/8/layout/lProcess2"/>
    <dgm:cxn modelId="{1F568C40-10CA-427C-9CD3-BBF9B7F1E499}" type="presParOf" srcId="{5269004A-CC66-4653-917D-A8F449CA4D6D}" destId="{AB62D1E5-68F5-45B5-BC79-35E7402B9309}" srcOrd="2" destOrd="0" presId="urn:microsoft.com/office/officeart/2005/8/layout/lProcess2"/>
    <dgm:cxn modelId="{158AC660-4EE1-42D2-9AE5-9D90CD9BA262}" type="presParOf" srcId="{AB62D1E5-68F5-45B5-BC79-35E7402B9309}" destId="{39446C4D-EFE8-4306-B48B-CE14890BF033}" srcOrd="0" destOrd="0" presId="urn:microsoft.com/office/officeart/2005/8/layout/lProcess2"/>
    <dgm:cxn modelId="{4D5B201B-D852-41B5-8B20-38FF979E0EB2}" type="presParOf" srcId="{39446C4D-EFE8-4306-B48B-CE14890BF033}" destId="{103CEA5E-5250-4639-9E00-38A3A72ED0AE}" srcOrd="0" destOrd="0" presId="urn:microsoft.com/office/officeart/2005/8/layout/lProcess2"/>
    <dgm:cxn modelId="{465683C2-519E-4579-BBDA-87D1A351D7B0}" type="presParOf" srcId="{39446C4D-EFE8-4306-B48B-CE14890BF033}" destId="{2810B1D5-7B79-4673-8287-FAE72BCE855A}" srcOrd="1" destOrd="0" presId="urn:microsoft.com/office/officeart/2005/8/layout/lProcess2"/>
    <dgm:cxn modelId="{633421AE-F307-48CE-BBF4-80881401CE7F}" type="presParOf" srcId="{39446C4D-EFE8-4306-B48B-CE14890BF033}" destId="{F9442A7B-D862-45EF-AD5E-9A485DD285DC}" srcOrd="2" destOrd="0" presId="urn:microsoft.com/office/officeart/2005/8/layout/lProcess2"/>
    <dgm:cxn modelId="{93DC6AFB-F47C-47B7-82DF-96929FEFEF06}" type="presParOf" srcId="{39446C4D-EFE8-4306-B48B-CE14890BF033}" destId="{F59011FB-DF36-4EC7-A760-A61EA2B6F3A4}" srcOrd="3" destOrd="0" presId="urn:microsoft.com/office/officeart/2005/8/layout/lProcess2"/>
    <dgm:cxn modelId="{8F124D1E-CF24-462D-A956-67A733B5B25C}" type="presParOf" srcId="{39446C4D-EFE8-4306-B48B-CE14890BF033}" destId="{115FDD17-3BBD-40F9-A7DF-15CABE7FE409}" srcOrd="4" destOrd="0" presId="urn:microsoft.com/office/officeart/2005/8/layout/lProcess2"/>
    <dgm:cxn modelId="{AE37DA93-B329-4123-BC47-4DE535B098F2}" type="presParOf" srcId="{39446C4D-EFE8-4306-B48B-CE14890BF033}" destId="{F2A1E11F-4C44-4612-968E-3DB025231551}" srcOrd="5" destOrd="0" presId="urn:microsoft.com/office/officeart/2005/8/layout/lProcess2"/>
    <dgm:cxn modelId="{B3809BC5-C9C5-4B57-B19C-5950DB25E8F2}" type="presParOf" srcId="{39446C4D-EFE8-4306-B48B-CE14890BF033}" destId="{45A6A965-9598-417E-9FE7-9420FC64036A}" srcOrd="6" destOrd="0" presId="urn:microsoft.com/office/officeart/2005/8/layout/lProcess2"/>
    <dgm:cxn modelId="{9CA7A31B-E60B-493B-8E9A-5C0D065CA1B3}" type="presParOf" srcId="{27212398-99A9-4096-BBE7-6DC5849B653C}" destId="{CD503A7F-784D-4FF4-A2F5-8DF8E8FAB8C6}" srcOrd="1" destOrd="0" presId="urn:microsoft.com/office/officeart/2005/8/layout/lProcess2"/>
    <dgm:cxn modelId="{305B54FD-65A9-4D40-AE16-90FD5C0EB432}" type="presParOf" srcId="{27212398-99A9-4096-BBE7-6DC5849B653C}" destId="{05CFE40A-EE31-4C59-8259-EB43D7FD2ED2}" srcOrd="2" destOrd="0" presId="urn:microsoft.com/office/officeart/2005/8/layout/lProcess2"/>
    <dgm:cxn modelId="{58A946AF-27EB-4B5B-99E6-1C8354C5B6DF}" type="presParOf" srcId="{05CFE40A-EE31-4C59-8259-EB43D7FD2ED2}" destId="{44F8A94C-ADB8-4FBD-8B5A-EE7E35D75EE7}" srcOrd="0" destOrd="0" presId="urn:microsoft.com/office/officeart/2005/8/layout/lProcess2"/>
    <dgm:cxn modelId="{3E7A31EC-D6B8-43CC-88F4-48731DC0B13A}" type="presParOf" srcId="{05CFE40A-EE31-4C59-8259-EB43D7FD2ED2}" destId="{1F34CE8E-6A1E-4673-AD9E-567525E2D530}" srcOrd="1" destOrd="0" presId="urn:microsoft.com/office/officeart/2005/8/layout/lProcess2"/>
    <dgm:cxn modelId="{A6C9BB16-39F5-4CCD-A6EC-26F8723BE813}" type="presParOf" srcId="{05CFE40A-EE31-4C59-8259-EB43D7FD2ED2}" destId="{3836340B-A9A4-4C66-801D-90570CA49104}" srcOrd="2" destOrd="0" presId="urn:microsoft.com/office/officeart/2005/8/layout/lProcess2"/>
    <dgm:cxn modelId="{A8D86685-B9B9-4075-A304-D73DD39298FF}" type="presParOf" srcId="{3836340B-A9A4-4C66-801D-90570CA49104}" destId="{95349DDC-D086-4479-9FCA-629D37A69F7D}" srcOrd="0" destOrd="0" presId="urn:microsoft.com/office/officeart/2005/8/layout/lProcess2"/>
    <dgm:cxn modelId="{B489F524-E680-426F-B3A9-6FDF4B3774B0}" type="presParOf" srcId="{95349DDC-D086-4479-9FCA-629D37A69F7D}" destId="{80619A5E-3149-4A6A-8CC9-E452CACC118D}" srcOrd="0" destOrd="0" presId="urn:microsoft.com/office/officeart/2005/8/layout/lProcess2"/>
    <dgm:cxn modelId="{EAC992C5-252E-43B6-BFCC-6D7916E99D1B}" type="presParOf" srcId="{95349DDC-D086-4479-9FCA-629D37A69F7D}" destId="{10464A55-E266-4748-AF58-33B98F57BCC5}" srcOrd="1" destOrd="0" presId="urn:microsoft.com/office/officeart/2005/8/layout/lProcess2"/>
    <dgm:cxn modelId="{41F2920C-F83B-441D-84FB-055562883B64}" type="presParOf" srcId="{95349DDC-D086-4479-9FCA-629D37A69F7D}" destId="{000CFD3F-5AEB-4803-8AC3-658347500CC2}" srcOrd="2" destOrd="0" presId="urn:microsoft.com/office/officeart/2005/8/layout/lProcess2"/>
    <dgm:cxn modelId="{38FBC2AB-F321-4F21-A1C0-67C54117B0D7}" type="presParOf" srcId="{95349DDC-D086-4479-9FCA-629D37A69F7D}" destId="{D9D7B82A-FFC9-4E75-BAD6-75D64C803943}" srcOrd="3" destOrd="0" presId="urn:microsoft.com/office/officeart/2005/8/layout/lProcess2"/>
    <dgm:cxn modelId="{A174FD8D-BE51-4D51-979F-DBDD978F9B20}" type="presParOf" srcId="{95349DDC-D086-4479-9FCA-629D37A69F7D}" destId="{B141C6B4-22BD-40B9-A028-74CD3F8BBE78}" srcOrd="4" destOrd="0" presId="urn:microsoft.com/office/officeart/2005/8/layout/lProcess2"/>
    <dgm:cxn modelId="{54E38805-C035-4029-B0F6-502AB931FBE4}" type="presParOf" srcId="{95349DDC-D086-4479-9FCA-629D37A69F7D}" destId="{229627E3-0F20-49A8-878C-16E21D23ACCC}" srcOrd="5" destOrd="0" presId="urn:microsoft.com/office/officeart/2005/8/layout/lProcess2"/>
    <dgm:cxn modelId="{1C453632-DDBA-4680-B027-267DAFD5E939}" type="presParOf" srcId="{95349DDC-D086-4479-9FCA-629D37A69F7D}" destId="{3596C622-89ED-46BB-88ED-FCBB6585C138}" srcOrd="6" destOrd="0" presId="urn:microsoft.com/office/officeart/2005/8/layout/lProcess2"/>
    <dgm:cxn modelId="{29511C7D-5303-479A-860E-EEA676400AC1}" type="presParOf" srcId="{27212398-99A9-4096-BBE7-6DC5849B653C}" destId="{817CC127-D50D-4F87-9AF7-3DC370965C5B}" srcOrd="3" destOrd="0" presId="urn:microsoft.com/office/officeart/2005/8/layout/lProcess2"/>
    <dgm:cxn modelId="{D0296203-133C-40D4-99A3-B5FD6AFE4485}" type="presParOf" srcId="{27212398-99A9-4096-BBE7-6DC5849B653C}" destId="{4D4900C9-4DF9-4BFA-A8CB-1E6450676201}" srcOrd="4" destOrd="0" presId="urn:microsoft.com/office/officeart/2005/8/layout/lProcess2"/>
    <dgm:cxn modelId="{B51AC1FD-8C4D-4A7A-B9BE-7EE4460EC939}" type="presParOf" srcId="{4D4900C9-4DF9-4BFA-A8CB-1E6450676201}" destId="{EF468167-C67C-49C2-839A-C622F06CAB6F}" srcOrd="0" destOrd="0" presId="urn:microsoft.com/office/officeart/2005/8/layout/lProcess2"/>
    <dgm:cxn modelId="{EB146452-AE35-413E-B03B-08B758A6397A}" type="presParOf" srcId="{4D4900C9-4DF9-4BFA-A8CB-1E6450676201}" destId="{3A36EDDC-26C9-41BA-B1A6-7FE662FBFCF3}" srcOrd="1" destOrd="0" presId="urn:microsoft.com/office/officeart/2005/8/layout/lProcess2"/>
    <dgm:cxn modelId="{AE09551D-58F9-4A28-9191-FA7A4F1D68FC}" type="presParOf" srcId="{4D4900C9-4DF9-4BFA-A8CB-1E6450676201}" destId="{644D37D8-159C-446E-9C06-2A90C6D0F98E}" srcOrd="2" destOrd="0" presId="urn:microsoft.com/office/officeart/2005/8/layout/lProcess2"/>
    <dgm:cxn modelId="{2289AC73-D87E-4AB3-8FCD-02388E956452}" type="presParOf" srcId="{644D37D8-159C-446E-9C06-2A90C6D0F98E}" destId="{5FB75FAD-B4FE-4D33-9541-524E6796E253}" srcOrd="0" destOrd="0" presId="urn:microsoft.com/office/officeart/2005/8/layout/lProcess2"/>
    <dgm:cxn modelId="{514F3B3B-FAF6-4DEF-B727-495FDE2E1C5E}" type="presParOf" srcId="{5FB75FAD-B4FE-4D33-9541-524E6796E253}" destId="{827D641A-6E1B-462B-82A1-481C9617923D}" srcOrd="0" destOrd="0" presId="urn:microsoft.com/office/officeart/2005/8/layout/lProcess2"/>
    <dgm:cxn modelId="{813727CB-3AB6-479F-8E47-CF37E547FDA2}" type="presParOf" srcId="{5FB75FAD-B4FE-4D33-9541-524E6796E253}" destId="{64B7E17B-AE48-4C81-B134-83589CD87099}" srcOrd="1" destOrd="0" presId="urn:microsoft.com/office/officeart/2005/8/layout/lProcess2"/>
    <dgm:cxn modelId="{94C2BC26-A549-4D0F-BBC2-85E6F197491C}" type="presParOf" srcId="{5FB75FAD-B4FE-4D33-9541-524E6796E253}" destId="{913ED80F-749A-4D6D-9FF6-2B22F5135659}" srcOrd="2" destOrd="0" presId="urn:microsoft.com/office/officeart/2005/8/layout/lProcess2"/>
    <dgm:cxn modelId="{B5FFDB5E-670D-47C3-8513-C7F6E17FF924}" type="presParOf" srcId="{5FB75FAD-B4FE-4D33-9541-524E6796E253}" destId="{A2F79252-3966-420C-8452-536A25317A4E}" srcOrd="3" destOrd="0" presId="urn:microsoft.com/office/officeart/2005/8/layout/lProcess2"/>
    <dgm:cxn modelId="{16208439-5349-4012-A1D6-9CEFF51B4101}" type="presParOf" srcId="{5FB75FAD-B4FE-4D33-9541-524E6796E253}" destId="{DAF08508-6895-4B5B-8F0A-4D58A2121B51}" srcOrd="4" destOrd="0" presId="urn:microsoft.com/office/officeart/2005/8/layout/lProcess2"/>
    <dgm:cxn modelId="{DE02A4E7-C0A3-495F-BF5B-52B80B0AC5C9}" type="presParOf" srcId="{5FB75FAD-B4FE-4D33-9541-524E6796E253}" destId="{2A51B021-88F1-49AA-BBAD-61F3A9A70CEA}" srcOrd="5" destOrd="0" presId="urn:microsoft.com/office/officeart/2005/8/layout/lProcess2"/>
    <dgm:cxn modelId="{0BAAFD6A-7BB0-4F65-AFCD-10A7D4D5B0A1}" type="presParOf" srcId="{5FB75FAD-B4FE-4D33-9541-524E6796E253}" destId="{FF11490A-0A44-47B2-85BA-9FD1CC063C90}" srcOrd="6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57B01EA-8E39-4E3A-9F6D-8F0A58482FD1}" type="doc">
      <dgm:prSet loTypeId="urn:microsoft.com/office/officeart/2005/8/layout/orgChart1" loCatId="hierarchy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040DD76E-56CF-4F27-8CA4-0108832BD7ED}">
      <dgm:prSet phldrT="[Text]" custT="1"/>
      <dgm:spPr/>
      <dgm:t>
        <a:bodyPr/>
        <a:lstStyle/>
        <a:p>
          <a:r>
            <a:rPr lang="ru-RU" sz="1200" b="1" dirty="0">
              <a:latin typeface="+mj-lt"/>
            </a:rPr>
            <a:t>Имя</a:t>
          </a:r>
          <a:br>
            <a:rPr lang="en-US" sz="1200" dirty="0">
              <a:latin typeface="+mj-lt"/>
            </a:rPr>
          </a:br>
          <a:r>
            <a:rPr lang="ru-RU" sz="1200" b="0" dirty="0"/>
            <a:t>Должность</a:t>
          </a:r>
          <a:endParaRPr lang="en-US" sz="1200" dirty="0"/>
        </a:p>
      </dgm:t>
    </dgm:pt>
    <dgm:pt modelId="{4D55124F-90D9-48BD-999E-5F2DAB5F60FA}" type="parTrans" cxnId="{D1F8C034-D6C9-478B-8F95-476B81D62733}">
      <dgm:prSet/>
      <dgm:spPr/>
      <dgm:t>
        <a:bodyPr/>
        <a:lstStyle/>
        <a:p>
          <a:endParaRPr lang="en-US"/>
        </a:p>
      </dgm:t>
    </dgm:pt>
    <dgm:pt modelId="{C0B3860E-D7E0-462C-9C2F-9FEAA12BE6FA}" type="sibTrans" cxnId="{D1F8C034-D6C9-478B-8F95-476B81D62733}">
      <dgm:prSet/>
      <dgm:spPr/>
      <dgm:t>
        <a:bodyPr/>
        <a:lstStyle/>
        <a:p>
          <a:endParaRPr lang="en-US"/>
        </a:p>
      </dgm:t>
    </dgm:pt>
    <dgm:pt modelId="{F3D9C5D6-9DE8-4177-BDDA-09FDE4230AB8}">
      <dgm:prSet phldrT="[Text]" custT="1"/>
      <dgm:spPr/>
      <dgm:t>
        <a:bodyPr/>
        <a:lstStyle/>
        <a:p>
          <a:r>
            <a:rPr lang="ru-RU" sz="1200" b="1">
              <a:latin typeface="+mj-lt"/>
            </a:rPr>
            <a:t>Имя</a:t>
          </a:r>
          <a:br>
            <a:rPr lang="en-US" sz="1200">
              <a:latin typeface="+mj-lt"/>
            </a:rPr>
          </a:br>
          <a:r>
            <a:rPr lang="ru-RU" sz="1200" b="0"/>
            <a:t>Должность</a:t>
          </a:r>
          <a:endParaRPr lang="en-US" sz="1200" dirty="0"/>
        </a:p>
      </dgm:t>
    </dgm:pt>
    <dgm:pt modelId="{0FBBE1D2-E3B8-48C8-8CEF-7012A3CC0D82}" type="parTrans" cxnId="{3849C2B3-2E54-46AC-B69B-F828F9ECE8B1}">
      <dgm:prSet/>
      <dgm:spPr/>
      <dgm:t>
        <a:bodyPr/>
        <a:lstStyle/>
        <a:p>
          <a:endParaRPr lang="en-US"/>
        </a:p>
      </dgm:t>
    </dgm:pt>
    <dgm:pt modelId="{90EACE78-02C0-4B71-B050-09BBF3B13A15}" type="sibTrans" cxnId="{3849C2B3-2E54-46AC-B69B-F828F9ECE8B1}">
      <dgm:prSet/>
      <dgm:spPr/>
      <dgm:t>
        <a:bodyPr/>
        <a:lstStyle/>
        <a:p>
          <a:endParaRPr lang="en-US"/>
        </a:p>
      </dgm:t>
    </dgm:pt>
    <dgm:pt modelId="{E6BBABCF-B4F3-4AF9-8434-9591D077FEA4}">
      <dgm:prSet phldrT="[Text]" custT="1"/>
      <dgm:spPr/>
      <dgm:t>
        <a:bodyPr/>
        <a:lstStyle/>
        <a:p>
          <a:r>
            <a:rPr lang="ru-RU" sz="1200" b="1">
              <a:latin typeface="+mj-lt"/>
            </a:rPr>
            <a:t>Имя</a:t>
          </a:r>
          <a:br>
            <a:rPr lang="en-US" sz="1200">
              <a:latin typeface="+mj-lt"/>
            </a:rPr>
          </a:br>
          <a:r>
            <a:rPr lang="ru-RU" sz="1200" b="0"/>
            <a:t>Должность</a:t>
          </a:r>
          <a:endParaRPr lang="en-US" sz="1200" dirty="0"/>
        </a:p>
      </dgm:t>
    </dgm:pt>
    <dgm:pt modelId="{F1584D0C-5E37-4548-B3EB-0BDA21BE560E}" type="parTrans" cxnId="{BC00FE28-F7F9-4D65-8DB4-9D0D54614DC3}">
      <dgm:prSet/>
      <dgm:spPr/>
      <dgm:t>
        <a:bodyPr/>
        <a:lstStyle/>
        <a:p>
          <a:endParaRPr lang="en-US"/>
        </a:p>
      </dgm:t>
    </dgm:pt>
    <dgm:pt modelId="{754A5880-694A-422E-A841-93451E7DC8E5}" type="sibTrans" cxnId="{BC00FE28-F7F9-4D65-8DB4-9D0D54614DC3}">
      <dgm:prSet/>
      <dgm:spPr/>
      <dgm:t>
        <a:bodyPr/>
        <a:lstStyle/>
        <a:p>
          <a:endParaRPr lang="en-US"/>
        </a:p>
      </dgm:t>
    </dgm:pt>
    <dgm:pt modelId="{7376B8AB-F6D5-4492-84D6-1B78E581E031}">
      <dgm:prSet phldrT="[Text]" custT="1"/>
      <dgm:spPr/>
      <dgm:t>
        <a:bodyPr/>
        <a:lstStyle/>
        <a:p>
          <a:r>
            <a:rPr lang="ru-RU" sz="1200" b="1">
              <a:latin typeface="+mj-lt"/>
            </a:rPr>
            <a:t>Имя</a:t>
          </a:r>
          <a:br>
            <a:rPr lang="en-US" sz="1200">
              <a:latin typeface="+mj-lt"/>
            </a:rPr>
          </a:br>
          <a:r>
            <a:rPr lang="ru-RU" sz="1200" b="0"/>
            <a:t>Должность</a:t>
          </a:r>
          <a:endParaRPr lang="en-US" sz="1200" dirty="0"/>
        </a:p>
      </dgm:t>
    </dgm:pt>
    <dgm:pt modelId="{7DA4E863-6E10-410F-9CC7-CC0FB44665B0}" type="parTrans" cxnId="{EF6FD381-8F07-4DE7-9B20-581D4AC7ABA6}">
      <dgm:prSet/>
      <dgm:spPr/>
      <dgm:t>
        <a:bodyPr/>
        <a:lstStyle/>
        <a:p>
          <a:endParaRPr lang="en-US"/>
        </a:p>
      </dgm:t>
    </dgm:pt>
    <dgm:pt modelId="{266DF1B3-5D1C-48FA-9E32-AD5F26EB150A}" type="sibTrans" cxnId="{EF6FD381-8F07-4DE7-9B20-581D4AC7ABA6}">
      <dgm:prSet/>
      <dgm:spPr/>
      <dgm:t>
        <a:bodyPr/>
        <a:lstStyle/>
        <a:p>
          <a:endParaRPr lang="en-US"/>
        </a:p>
      </dgm:t>
    </dgm:pt>
    <dgm:pt modelId="{3AE28DCE-3A07-4207-A1E0-9165A8CCD462}">
      <dgm:prSet phldrT="[Text]" custT="1"/>
      <dgm:spPr/>
      <dgm:t>
        <a:bodyPr/>
        <a:lstStyle/>
        <a:p>
          <a:r>
            <a:rPr lang="ru-RU" sz="1200" b="1">
              <a:latin typeface="+mj-lt"/>
            </a:rPr>
            <a:t>Имя</a:t>
          </a:r>
          <a:br>
            <a:rPr lang="en-US" sz="1200">
              <a:latin typeface="+mj-lt"/>
            </a:rPr>
          </a:br>
          <a:r>
            <a:rPr lang="ru-RU" sz="1200" b="0"/>
            <a:t>Должность</a:t>
          </a:r>
          <a:endParaRPr lang="en-US" sz="1200" dirty="0"/>
        </a:p>
      </dgm:t>
    </dgm:pt>
    <dgm:pt modelId="{02B708C9-C349-4D83-8FC9-895C6D41CDA5}" type="parTrans" cxnId="{2D02C6C1-2527-4C76-9A80-C5EDAA02A16D}">
      <dgm:prSet/>
      <dgm:spPr/>
      <dgm:t>
        <a:bodyPr/>
        <a:lstStyle/>
        <a:p>
          <a:endParaRPr lang="en-US"/>
        </a:p>
      </dgm:t>
    </dgm:pt>
    <dgm:pt modelId="{574298C8-FC34-47A4-9C00-00A8C40B6354}" type="sibTrans" cxnId="{2D02C6C1-2527-4C76-9A80-C5EDAA02A16D}">
      <dgm:prSet/>
      <dgm:spPr/>
      <dgm:t>
        <a:bodyPr/>
        <a:lstStyle/>
        <a:p>
          <a:endParaRPr lang="en-US"/>
        </a:p>
      </dgm:t>
    </dgm:pt>
    <dgm:pt modelId="{44A6095F-01B3-46D7-ACA8-59BFF97FF724}">
      <dgm:prSet phldrT="[Text]" custT="1"/>
      <dgm:spPr/>
      <dgm:t>
        <a:bodyPr/>
        <a:lstStyle/>
        <a:p>
          <a:r>
            <a:rPr lang="ru-RU" sz="1200" b="1">
              <a:latin typeface="+mj-lt"/>
            </a:rPr>
            <a:t>Имя</a:t>
          </a:r>
          <a:br>
            <a:rPr lang="en-US" sz="1200">
              <a:latin typeface="+mj-lt"/>
            </a:rPr>
          </a:br>
          <a:r>
            <a:rPr lang="ru-RU" sz="1200" b="0"/>
            <a:t>Должность</a:t>
          </a:r>
          <a:endParaRPr lang="en-US" sz="1200" dirty="0"/>
        </a:p>
      </dgm:t>
    </dgm:pt>
    <dgm:pt modelId="{3EF3F899-B9C2-42BF-90A2-5B8F4E8CD265}" type="parTrans" cxnId="{7E3BB6DC-E906-41D1-AA9D-FB745373EB61}">
      <dgm:prSet/>
      <dgm:spPr/>
      <dgm:t>
        <a:bodyPr/>
        <a:lstStyle/>
        <a:p>
          <a:endParaRPr lang="en-US"/>
        </a:p>
      </dgm:t>
    </dgm:pt>
    <dgm:pt modelId="{8E549D37-3CA8-47E9-A5D4-843188300CCE}" type="sibTrans" cxnId="{7E3BB6DC-E906-41D1-AA9D-FB745373EB61}">
      <dgm:prSet/>
      <dgm:spPr/>
      <dgm:t>
        <a:bodyPr/>
        <a:lstStyle/>
        <a:p>
          <a:endParaRPr lang="en-US"/>
        </a:p>
      </dgm:t>
    </dgm:pt>
    <dgm:pt modelId="{68A00F09-C8EF-415E-8EBD-EEB41E73675F}">
      <dgm:prSet phldrT="[Text]" custT="1"/>
      <dgm:spPr/>
      <dgm:t>
        <a:bodyPr/>
        <a:lstStyle/>
        <a:p>
          <a:r>
            <a:rPr lang="ru-RU" sz="1200" b="1">
              <a:latin typeface="+mj-lt"/>
            </a:rPr>
            <a:t>Имя</a:t>
          </a:r>
          <a:br>
            <a:rPr lang="en-US" sz="1200">
              <a:latin typeface="+mj-lt"/>
            </a:rPr>
          </a:br>
          <a:r>
            <a:rPr lang="ru-RU" sz="1200" b="0"/>
            <a:t>Должность</a:t>
          </a:r>
          <a:endParaRPr lang="en-US" sz="1200" dirty="0"/>
        </a:p>
      </dgm:t>
    </dgm:pt>
    <dgm:pt modelId="{BD713B9B-0B4E-4375-9F4B-797D5C5B11B3}" type="parTrans" cxnId="{0E19DEB1-FB21-465F-A42C-A27308DF210E}">
      <dgm:prSet/>
      <dgm:spPr/>
      <dgm:t>
        <a:bodyPr/>
        <a:lstStyle/>
        <a:p>
          <a:endParaRPr lang="en-US"/>
        </a:p>
      </dgm:t>
    </dgm:pt>
    <dgm:pt modelId="{2B1968FE-E259-408C-BAEB-F2E324209725}" type="sibTrans" cxnId="{0E19DEB1-FB21-465F-A42C-A27308DF210E}">
      <dgm:prSet/>
      <dgm:spPr/>
      <dgm:t>
        <a:bodyPr/>
        <a:lstStyle/>
        <a:p>
          <a:endParaRPr lang="en-US"/>
        </a:p>
      </dgm:t>
    </dgm:pt>
    <dgm:pt modelId="{B78CDDF9-D644-4EFC-9D35-D8F93F271062}">
      <dgm:prSet custT="1"/>
      <dgm:spPr/>
      <dgm:t>
        <a:bodyPr/>
        <a:lstStyle/>
        <a:p>
          <a:r>
            <a:rPr lang="ru-RU" sz="1200" b="1" dirty="0">
              <a:latin typeface="+mj-lt"/>
            </a:rPr>
            <a:t>Имя</a:t>
          </a:r>
          <a:br>
            <a:rPr lang="en-US" sz="1200" dirty="0">
              <a:latin typeface="+mj-lt"/>
            </a:rPr>
          </a:br>
          <a:r>
            <a:rPr lang="ru-RU" sz="1200" b="0" dirty="0"/>
            <a:t>Должность</a:t>
          </a:r>
          <a:endParaRPr lang="en-US" sz="1200" dirty="0"/>
        </a:p>
      </dgm:t>
    </dgm:pt>
    <dgm:pt modelId="{0E9B0A82-7AC6-4971-A1B5-E21FA19B1B64}" type="parTrans" cxnId="{0CF09FA1-480E-499F-8894-AEB60256E823}">
      <dgm:prSet/>
      <dgm:spPr/>
      <dgm:t>
        <a:bodyPr/>
        <a:lstStyle/>
        <a:p>
          <a:endParaRPr lang="en-US"/>
        </a:p>
      </dgm:t>
    </dgm:pt>
    <dgm:pt modelId="{FB37CB85-EB1F-41FE-8D7D-2F83B315E7BC}" type="sibTrans" cxnId="{0CF09FA1-480E-499F-8894-AEB60256E823}">
      <dgm:prSet/>
      <dgm:spPr/>
      <dgm:t>
        <a:bodyPr/>
        <a:lstStyle/>
        <a:p>
          <a:endParaRPr lang="en-US"/>
        </a:p>
      </dgm:t>
    </dgm:pt>
    <dgm:pt modelId="{7AEE2A53-3AA4-4869-BFBE-3D2151ACC86A}">
      <dgm:prSet custT="1"/>
      <dgm:spPr/>
      <dgm:t>
        <a:bodyPr/>
        <a:lstStyle/>
        <a:p>
          <a:r>
            <a:rPr lang="ru-RU" sz="1200" b="1">
              <a:latin typeface="+mj-lt"/>
            </a:rPr>
            <a:t>Имя</a:t>
          </a:r>
          <a:br>
            <a:rPr lang="en-US" sz="1200">
              <a:latin typeface="+mj-lt"/>
            </a:rPr>
          </a:br>
          <a:r>
            <a:rPr lang="ru-RU" sz="1200" b="0"/>
            <a:t>Должность</a:t>
          </a:r>
          <a:endParaRPr lang="en-US" sz="1200" dirty="0"/>
        </a:p>
      </dgm:t>
    </dgm:pt>
    <dgm:pt modelId="{F8AD2BBD-227D-4D8E-A917-3550931445DE}" type="parTrans" cxnId="{C7D237B7-E4B7-4BEF-BCA8-B20DAD3B56F2}">
      <dgm:prSet/>
      <dgm:spPr/>
      <dgm:t>
        <a:bodyPr/>
        <a:lstStyle/>
        <a:p>
          <a:endParaRPr lang="en-US"/>
        </a:p>
      </dgm:t>
    </dgm:pt>
    <dgm:pt modelId="{CD87A51A-8C9C-4EF6-B330-DDC2777ECBC3}" type="sibTrans" cxnId="{C7D237B7-E4B7-4BEF-BCA8-B20DAD3B56F2}">
      <dgm:prSet/>
      <dgm:spPr/>
      <dgm:t>
        <a:bodyPr/>
        <a:lstStyle/>
        <a:p>
          <a:endParaRPr lang="en-US"/>
        </a:p>
      </dgm:t>
    </dgm:pt>
    <dgm:pt modelId="{BB75E453-D87A-4379-A7CA-84EAEF6BCA1B}">
      <dgm:prSet custT="1"/>
      <dgm:spPr/>
      <dgm:t>
        <a:bodyPr/>
        <a:lstStyle/>
        <a:p>
          <a:r>
            <a:rPr lang="ru-RU" sz="1200" b="1">
              <a:latin typeface="+mj-lt"/>
            </a:rPr>
            <a:t>Имя</a:t>
          </a:r>
          <a:br>
            <a:rPr lang="en-US" sz="1200">
              <a:latin typeface="+mj-lt"/>
            </a:rPr>
          </a:br>
          <a:r>
            <a:rPr lang="ru-RU" sz="1200" b="0"/>
            <a:t>Должность</a:t>
          </a:r>
          <a:endParaRPr lang="en-US" sz="1200" dirty="0"/>
        </a:p>
      </dgm:t>
    </dgm:pt>
    <dgm:pt modelId="{98EE9CC4-03BC-44B5-B7C0-2488D6E8AA11}" type="parTrans" cxnId="{F8C839F0-1284-4B1E-9BF5-98CD541FC114}">
      <dgm:prSet/>
      <dgm:spPr/>
      <dgm:t>
        <a:bodyPr/>
        <a:lstStyle/>
        <a:p>
          <a:endParaRPr lang="en-US"/>
        </a:p>
      </dgm:t>
    </dgm:pt>
    <dgm:pt modelId="{262AE259-124B-4E28-9BDA-2799089D87C6}" type="sibTrans" cxnId="{F8C839F0-1284-4B1E-9BF5-98CD541FC114}">
      <dgm:prSet/>
      <dgm:spPr/>
      <dgm:t>
        <a:bodyPr/>
        <a:lstStyle/>
        <a:p>
          <a:endParaRPr lang="en-US"/>
        </a:p>
      </dgm:t>
    </dgm:pt>
    <dgm:pt modelId="{9640DF1C-87CB-44C5-9239-6487C9B9C423}">
      <dgm:prSet custT="1"/>
      <dgm:spPr/>
      <dgm:t>
        <a:bodyPr/>
        <a:lstStyle/>
        <a:p>
          <a:r>
            <a:rPr lang="ru-RU" sz="1200" b="1">
              <a:latin typeface="+mj-lt"/>
            </a:rPr>
            <a:t>Имя</a:t>
          </a:r>
          <a:br>
            <a:rPr lang="en-US" sz="1200">
              <a:latin typeface="+mj-lt"/>
            </a:rPr>
          </a:br>
          <a:r>
            <a:rPr lang="ru-RU" sz="1200" b="0"/>
            <a:t>Должность</a:t>
          </a:r>
          <a:endParaRPr lang="en-US" sz="1200" dirty="0"/>
        </a:p>
      </dgm:t>
    </dgm:pt>
    <dgm:pt modelId="{A46D0169-3745-439C-AA9E-555C3E6681EE}" type="parTrans" cxnId="{9C8E89E5-4FFE-487A-9C00-9A53DC073B25}">
      <dgm:prSet/>
      <dgm:spPr/>
      <dgm:t>
        <a:bodyPr/>
        <a:lstStyle/>
        <a:p>
          <a:endParaRPr lang="en-US"/>
        </a:p>
      </dgm:t>
    </dgm:pt>
    <dgm:pt modelId="{64F53395-4AD8-4B14-ABDA-EC1E26A82B9C}" type="sibTrans" cxnId="{9C8E89E5-4FFE-487A-9C00-9A53DC073B25}">
      <dgm:prSet/>
      <dgm:spPr/>
      <dgm:t>
        <a:bodyPr/>
        <a:lstStyle/>
        <a:p>
          <a:endParaRPr lang="en-US"/>
        </a:p>
      </dgm:t>
    </dgm:pt>
    <dgm:pt modelId="{93588496-DDB1-42F7-B846-773FEE859A69}">
      <dgm:prSet custT="1"/>
      <dgm:spPr/>
      <dgm:t>
        <a:bodyPr/>
        <a:lstStyle/>
        <a:p>
          <a:r>
            <a:rPr lang="ru-RU" sz="1200" b="1">
              <a:latin typeface="+mj-lt"/>
            </a:rPr>
            <a:t>Имя</a:t>
          </a:r>
          <a:br>
            <a:rPr lang="en-US" sz="1200">
              <a:latin typeface="+mj-lt"/>
            </a:rPr>
          </a:br>
          <a:r>
            <a:rPr lang="ru-RU" sz="1200" b="0"/>
            <a:t>Должность</a:t>
          </a:r>
          <a:endParaRPr lang="en-US" sz="1200" dirty="0"/>
        </a:p>
      </dgm:t>
    </dgm:pt>
    <dgm:pt modelId="{49215C61-813C-49AD-8790-8F617AF98E45}" type="parTrans" cxnId="{B7BBDFF8-51EE-4DE6-8D55-AD6580AEFEEB}">
      <dgm:prSet/>
      <dgm:spPr/>
      <dgm:t>
        <a:bodyPr/>
        <a:lstStyle/>
        <a:p>
          <a:endParaRPr lang="en-US"/>
        </a:p>
      </dgm:t>
    </dgm:pt>
    <dgm:pt modelId="{13338101-0F46-4174-A5A3-AB409713C18F}" type="sibTrans" cxnId="{B7BBDFF8-51EE-4DE6-8D55-AD6580AEFEEB}">
      <dgm:prSet/>
      <dgm:spPr/>
      <dgm:t>
        <a:bodyPr/>
        <a:lstStyle/>
        <a:p>
          <a:endParaRPr lang="en-US"/>
        </a:p>
      </dgm:t>
    </dgm:pt>
    <dgm:pt modelId="{B0B08AD3-7E8F-4CCB-8EE5-95755C96C5E6}">
      <dgm:prSet custT="1"/>
      <dgm:spPr/>
      <dgm:t>
        <a:bodyPr/>
        <a:lstStyle/>
        <a:p>
          <a:r>
            <a:rPr lang="ru-RU" sz="1200" b="1" dirty="0">
              <a:latin typeface="+mj-lt"/>
            </a:rPr>
            <a:t>Имя</a:t>
          </a:r>
          <a:br>
            <a:rPr lang="en-US" sz="1200" dirty="0">
              <a:latin typeface="+mj-lt"/>
            </a:rPr>
          </a:br>
          <a:r>
            <a:rPr lang="ru-RU" sz="1200" b="0" dirty="0"/>
            <a:t>Должность</a:t>
          </a:r>
          <a:endParaRPr lang="en-US" sz="1200" dirty="0"/>
        </a:p>
      </dgm:t>
    </dgm:pt>
    <dgm:pt modelId="{07755452-2F6F-4B08-9D32-8355C5631F3C}" type="parTrans" cxnId="{C0A28949-A8F0-4242-B287-AB6A03664761}">
      <dgm:prSet/>
      <dgm:spPr/>
      <dgm:t>
        <a:bodyPr/>
        <a:lstStyle/>
        <a:p>
          <a:endParaRPr lang="en-US"/>
        </a:p>
      </dgm:t>
    </dgm:pt>
    <dgm:pt modelId="{92B3F77C-7F86-4B63-BAE9-C88466DFAD82}" type="sibTrans" cxnId="{C0A28949-A8F0-4242-B287-AB6A03664761}">
      <dgm:prSet/>
      <dgm:spPr/>
      <dgm:t>
        <a:bodyPr/>
        <a:lstStyle/>
        <a:p>
          <a:endParaRPr lang="en-US"/>
        </a:p>
      </dgm:t>
    </dgm:pt>
    <dgm:pt modelId="{F3E1F9BC-E64A-4033-B228-C6639E3CCDAE}">
      <dgm:prSet custT="1"/>
      <dgm:spPr/>
      <dgm:t>
        <a:bodyPr/>
        <a:lstStyle/>
        <a:p>
          <a:r>
            <a:rPr lang="ru-RU" sz="1200" b="1">
              <a:latin typeface="+mj-lt"/>
            </a:rPr>
            <a:t>Имя</a:t>
          </a:r>
          <a:br>
            <a:rPr lang="en-US" sz="1200">
              <a:latin typeface="+mj-lt"/>
            </a:rPr>
          </a:br>
          <a:r>
            <a:rPr lang="ru-RU" sz="1200" b="0"/>
            <a:t>Должность</a:t>
          </a:r>
          <a:endParaRPr lang="en-US" sz="1200" dirty="0"/>
        </a:p>
      </dgm:t>
    </dgm:pt>
    <dgm:pt modelId="{95E76312-19DC-4E95-9881-0BDC663C80FD}" type="parTrans" cxnId="{41A1D0C9-285C-4059-AFF2-519E8DE5DBBD}">
      <dgm:prSet/>
      <dgm:spPr/>
      <dgm:t>
        <a:bodyPr/>
        <a:lstStyle/>
        <a:p>
          <a:endParaRPr lang="en-US"/>
        </a:p>
      </dgm:t>
    </dgm:pt>
    <dgm:pt modelId="{7626D11E-5148-4212-AA30-4BEE0E65B103}" type="sibTrans" cxnId="{41A1D0C9-285C-4059-AFF2-519E8DE5DBBD}">
      <dgm:prSet/>
      <dgm:spPr/>
      <dgm:t>
        <a:bodyPr/>
        <a:lstStyle/>
        <a:p>
          <a:endParaRPr lang="en-US"/>
        </a:p>
      </dgm:t>
    </dgm:pt>
    <dgm:pt modelId="{3E762538-5931-4801-BDD8-DE69F0364EA2}">
      <dgm:prSet custT="1"/>
      <dgm:spPr/>
      <dgm:t>
        <a:bodyPr/>
        <a:lstStyle/>
        <a:p>
          <a:r>
            <a:rPr lang="ru-RU" sz="1200" b="1">
              <a:latin typeface="+mj-lt"/>
            </a:rPr>
            <a:t>Имя</a:t>
          </a:r>
          <a:br>
            <a:rPr lang="en-US" sz="1200">
              <a:latin typeface="+mj-lt"/>
            </a:rPr>
          </a:br>
          <a:r>
            <a:rPr lang="ru-RU" sz="1200" b="0"/>
            <a:t>Должность</a:t>
          </a:r>
          <a:endParaRPr lang="en-US" sz="1200" dirty="0"/>
        </a:p>
      </dgm:t>
    </dgm:pt>
    <dgm:pt modelId="{6B117342-8BF7-401E-9E02-8F4A62F78DF3}" type="parTrans" cxnId="{40589EE7-C81A-41AF-8F84-9FF38EB64853}">
      <dgm:prSet/>
      <dgm:spPr/>
      <dgm:t>
        <a:bodyPr/>
        <a:lstStyle/>
        <a:p>
          <a:endParaRPr lang="en-US"/>
        </a:p>
      </dgm:t>
    </dgm:pt>
    <dgm:pt modelId="{C7AF997D-6293-4374-A351-7FF043F78110}" type="sibTrans" cxnId="{40589EE7-C81A-41AF-8F84-9FF38EB64853}">
      <dgm:prSet/>
      <dgm:spPr/>
      <dgm:t>
        <a:bodyPr/>
        <a:lstStyle/>
        <a:p>
          <a:endParaRPr lang="en-US"/>
        </a:p>
      </dgm:t>
    </dgm:pt>
    <dgm:pt modelId="{5A8CF5A0-04D6-4202-A427-90CEF02E67DA}" type="pres">
      <dgm:prSet presAssocID="{657B01EA-8E39-4E3A-9F6D-8F0A58482FD1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00A0FADC-4687-47FF-96A4-29342E5DADF0}" type="pres">
      <dgm:prSet presAssocID="{040DD76E-56CF-4F27-8CA4-0108832BD7ED}" presName="hierRoot1" presStyleCnt="0">
        <dgm:presLayoutVars>
          <dgm:hierBranch val="init"/>
        </dgm:presLayoutVars>
      </dgm:prSet>
      <dgm:spPr/>
    </dgm:pt>
    <dgm:pt modelId="{3CF91F0A-6193-4B91-923D-894584D62ECF}" type="pres">
      <dgm:prSet presAssocID="{040DD76E-56CF-4F27-8CA4-0108832BD7ED}" presName="rootComposite1" presStyleCnt="0"/>
      <dgm:spPr/>
    </dgm:pt>
    <dgm:pt modelId="{3F05053A-AD92-4CA9-987A-54503EE74A75}" type="pres">
      <dgm:prSet presAssocID="{040DD76E-56CF-4F27-8CA4-0108832BD7ED}" presName="rootText1" presStyleLbl="node0" presStyleIdx="0" presStyleCnt="1" custScaleX="379749">
        <dgm:presLayoutVars>
          <dgm:chPref val="3"/>
        </dgm:presLayoutVars>
      </dgm:prSet>
      <dgm:spPr/>
    </dgm:pt>
    <dgm:pt modelId="{7838C66F-F3A6-4223-B437-57106BAAF667}" type="pres">
      <dgm:prSet presAssocID="{040DD76E-56CF-4F27-8CA4-0108832BD7ED}" presName="rootConnector1" presStyleLbl="node1" presStyleIdx="0" presStyleCnt="0"/>
      <dgm:spPr/>
    </dgm:pt>
    <dgm:pt modelId="{241B7D12-5DEB-4ED0-AA00-7E32FCBBAB24}" type="pres">
      <dgm:prSet presAssocID="{040DD76E-56CF-4F27-8CA4-0108832BD7ED}" presName="hierChild2" presStyleCnt="0"/>
      <dgm:spPr/>
    </dgm:pt>
    <dgm:pt modelId="{EBDDD33B-F223-442F-AD4D-758B0D923474}" type="pres">
      <dgm:prSet presAssocID="{0FBBE1D2-E3B8-48C8-8CEF-7012A3CC0D82}" presName="Name37" presStyleLbl="parChTrans1D2" presStyleIdx="0" presStyleCnt="6"/>
      <dgm:spPr/>
    </dgm:pt>
    <dgm:pt modelId="{0EEC52F1-9E4C-4C2A-8B49-AF13EA9C5AD2}" type="pres">
      <dgm:prSet presAssocID="{F3D9C5D6-9DE8-4177-BDDA-09FDE4230AB8}" presName="hierRoot2" presStyleCnt="0">
        <dgm:presLayoutVars>
          <dgm:hierBranch val="init"/>
        </dgm:presLayoutVars>
      </dgm:prSet>
      <dgm:spPr/>
    </dgm:pt>
    <dgm:pt modelId="{CE7B9829-7840-4FB5-A0E8-C33C0A141A4E}" type="pres">
      <dgm:prSet presAssocID="{F3D9C5D6-9DE8-4177-BDDA-09FDE4230AB8}" presName="rootComposite" presStyleCnt="0"/>
      <dgm:spPr/>
    </dgm:pt>
    <dgm:pt modelId="{4C81A2DE-EFF4-450D-A4F6-26F811063965}" type="pres">
      <dgm:prSet presAssocID="{F3D9C5D6-9DE8-4177-BDDA-09FDE4230AB8}" presName="rootText" presStyleLbl="node2" presStyleIdx="0" presStyleCnt="6">
        <dgm:presLayoutVars>
          <dgm:chPref val="3"/>
        </dgm:presLayoutVars>
      </dgm:prSet>
      <dgm:spPr/>
    </dgm:pt>
    <dgm:pt modelId="{FB0F3030-49DA-455A-81AD-319B9E708491}" type="pres">
      <dgm:prSet presAssocID="{F3D9C5D6-9DE8-4177-BDDA-09FDE4230AB8}" presName="rootConnector" presStyleLbl="node2" presStyleIdx="0" presStyleCnt="6"/>
      <dgm:spPr/>
    </dgm:pt>
    <dgm:pt modelId="{1C264070-1D52-41BC-B34E-F88724027269}" type="pres">
      <dgm:prSet presAssocID="{F3D9C5D6-9DE8-4177-BDDA-09FDE4230AB8}" presName="hierChild4" presStyleCnt="0"/>
      <dgm:spPr/>
    </dgm:pt>
    <dgm:pt modelId="{83BD8425-4637-470F-AE6B-D0A1E10324CC}" type="pres">
      <dgm:prSet presAssocID="{07755452-2F6F-4B08-9D32-8355C5631F3C}" presName="Name37" presStyleLbl="parChTrans1D3" presStyleIdx="0" presStyleCnt="8"/>
      <dgm:spPr/>
    </dgm:pt>
    <dgm:pt modelId="{7467A8A4-2E7C-4583-BFD8-6A170186A197}" type="pres">
      <dgm:prSet presAssocID="{B0B08AD3-7E8F-4CCB-8EE5-95755C96C5E6}" presName="hierRoot2" presStyleCnt="0">
        <dgm:presLayoutVars>
          <dgm:hierBranch val="init"/>
        </dgm:presLayoutVars>
      </dgm:prSet>
      <dgm:spPr/>
    </dgm:pt>
    <dgm:pt modelId="{0C42E590-695A-4AD6-8450-0D1FA3219A12}" type="pres">
      <dgm:prSet presAssocID="{B0B08AD3-7E8F-4CCB-8EE5-95755C96C5E6}" presName="rootComposite" presStyleCnt="0"/>
      <dgm:spPr/>
    </dgm:pt>
    <dgm:pt modelId="{89114272-CF0C-48B7-B7BE-64C65636C5F4}" type="pres">
      <dgm:prSet presAssocID="{B0B08AD3-7E8F-4CCB-8EE5-95755C96C5E6}" presName="rootText" presStyleLbl="node3" presStyleIdx="0" presStyleCnt="8">
        <dgm:presLayoutVars>
          <dgm:chPref val="3"/>
        </dgm:presLayoutVars>
      </dgm:prSet>
      <dgm:spPr/>
    </dgm:pt>
    <dgm:pt modelId="{1E4901C0-6F9B-4DA4-87FB-B3A540B72804}" type="pres">
      <dgm:prSet presAssocID="{B0B08AD3-7E8F-4CCB-8EE5-95755C96C5E6}" presName="rootConnector" presStyleLbl="node3" presStyleIdx="0" presStyleCnt="8"/>
      <dgm:spPr/>
    </dgm:pt>
    <dgm:pt modelId="{17CDF6B8-89C6-420F-B096-4FFBA3E1568A}" type="pres">
      <dgm:prSet presAssocID="{B0B08AD3-7E8F-4CCB-8EE5-95755C96C5E6}" presName="hierChild4" presStyleCnt="0"/>
      <dgm:spPr/>
    </dgm:pt>
    <dgm:pt modelId="{00E876B2-BD71-4A6A-9068-AFFFBC90BF18}" type="pres">
      <dgm:prSet presAssocID="{B0B08AD3-7E8F-4CCB-8EE5-95755C96C5E6}" presName="hierChild5" presStyleCnt="0"/>
      <dgm:spPr/>
    </dgm:pt>
    <dgm:pt modelId="{5975F904-3033-48F1-BB72-1D28F7523D61}" type="pres">
      <dgm:prSet presAssocID="{F3D9C5D6-9DE8-4177-BDDA-09FDE4230AB8}" presName="hierChild5" presStyleCnt="0"/>
      <dgm:spPr/>
    </dgm:pt>
    <dgm:pt modelId="{C6BD306B-5271-4AAB-B0DF-CEFC95E2DEDA}" type="pres">
      <dgm:prSet presAssocID="{F1584D0C-5E37-4548-B3EB-0BDA21BE560E}" presName="Name37" presStyleLbl="parChTrans1D2" presStyleIdx="1" presStyleCnt="6"/>
      <dgm:spPr/>
    </dgm:pt>
    <dgm:pt modelId="{FBC5EAAE-5F02-4B58-B0E4-979F5812CF12}" type="pres">
      <dgm:prSet presAssocID="{E6BBABCF-B4F3-4AF9-8434-9591D077FEA4}" presName="hierRoot2" presStyleCnt="0">
        <dgm:presLayoutVars>
          <dgm:hierBranch val="init"/>
        </dgm:presLayoutVars>
      </dgm:prSet>
      <dgm:spPr/>
    </dgm:pt>
    <dgm:pt modelId="{38B8C19C-B23E-47C8-A9F1-437D812610A4}" type="pres">
      <dgm:prSet presAssocID="{E6BBABCF-B4F3-4AF9-8434-9591D077FEA4}" presName="rootComposite" presStyleCnt="0"/>
      <dgm:spPr/>
    </dgm:pt>
    <dgm:pt modelId="{5E847E10-187B-4687-8167-957754E0FCEF}" type="pres">
      <dgm:prSet presAssocID="{E6BBABCF-B4F3-4AF9-8434-9591D077FEA4}" presName="rootText" presStyleLbl="node2" presStyleIdx="1" presStyleCnt="6">
        <dgm:presLayoutVars>
          <dgm:chPref val="3"/>
        </dgm:presLayoutVars>
      </dgm:prSet>
      <dgm:spPr/>
    </dgm:pt>
    <dgm:pt modelId="{6686D3FD-FA2D-4FAF-B389-24EBA3D8E154}" type="pres">
      <dgm:prSet presAssocID="{E6BBABCF-B4F3-4AF9-8434-9591D077FEA4}" presName="rootConnector" presStyleLbl="node2" presStyleIdx="1" presStyleCnt="6"/>
      <dgm:spPr/>
    </dgm:pt>
    <dgm:pt modelId="{3FA66724-8B11-45E8-8CCD-6D4F5360B673}" type="pres">
      <dgm:prSet presAssocID="{E6BBABCF-B4F3-4AF9-8434-9591D077FEA4}" presName="hierChild4" presStyleCnt="0"/>
      <dgm:spPr/>
    </dgm:pt>
    <dgm:pt modelId="{D9C17448-03BF-455E-81B4-0E40B4832EF8}" type="pres">
      <dgm:prSet presAssocID="{49215C61-813C-49AD-8790-8F617AF98E45}" presName="Name37" presStyleLbl="parChTrans1D3" presStyleIdx="1" presStyleCnt="8"/>
      <dgm:spPr/>
    </dgm:pt>
    <dgm:pt modelId="{3184C39E-A1A1-42C7-AFDB-7DB83B8CFF7D}" type="pres">
      <dgm:prSet presAssocID="{93588496-DDB1-42F7-B846-773FEE859A69}" presName="hierRoot2" presStyleCnt="0">
        <dgm:presLayoutVars>
          <dgm:hierBranch val="init"/>
        </dgm:presLayoutVars>
      </dgm:prSet>
      <dgm:spPr/>
    </dgm:pt>
    <dgm:pt modelId="{EB40AA69-B1B5-4D3D-8857-CCCB59527800}" type="pres">
      <dgm:prSet presAssocID="{93588496-DDB1-42F7-B846-773FEE859A69}" presName="rootComposite" presStyleCnt="0"/>
      <dgm:spPr/>
    </dgm:pt>
    <dgm:pt modelId="{E77731A4-8E9B-4D51-BF6F-6DEB0C17C564}" type="pres">
      <dgm:prSet presAssocID="{93588496-DDB1-42F7-B846-773FEE859A69}" presName="rootText" presStyleLbl="node3" presStyleIdx="1" presStyleCnt="8">
        <dgm:presLayoutVars>
          <dgm:chPref val="3"/>
        </dgm:presLayoutVars>
      </dgm:prSet>
      <dgm:spPr/>
    </dgm:pt>
    <dgm:pt modelId="{3C9A76A6-45A7-4644-ABDE-46A7039D3E1D}" type="pres">
      <dgm:prSet presAssocID="{93588496-DDB1-42F7-B846-773FEE859A69}" presName="rootConnector" presStyleLbl="node3" presStyleIdx="1" presStyleCnt="8"/>
      <dgm:spPr/>
    </dgm:pt>
    <dgm:pt modelId="{13275034-5D28-4559-9057-7921659348A5}" type="pres">
      <dgm:prSet presAssocID="{93588496-DDB1-42F7-B846-773FEE859A69}" presName="hierChild4" presStyleCnt="0"/>
      <dgm:spPr/>
    </dgm:pt>
    <dgm:pt modelId="{26F9E366-0D3F-49FE-AF48-2B8B62E24BFA}" type="pres">
      <dgm:prSet presAssocID="{93588496-DDB1-42F7-B846-773FEE859A69}" presName="hierChild5" presStyleCnt="0"/>
      <dgm:spPr/>
    </dgm:pt>
    <dgm:pt modelId="{F9AE505A-FCFA-4988-826B-BCAC919006B8}" type="pres">
      <dgm:prSet presAssocID="{95E76312-19DC-4E95-9881-0BDC663C80FD}" presName="Name37" presStyleLbl="parChTrans1D3" presStyleIdx="2" presStyleCnt="8"/>
      <dgm:spPr/>
    </dgm:pt>
    <dgm:pt modelId="{30CE1057-7C40-48AA-B18E-85FCF8F2E359}" type="pres">
      <dgm:prSet presAssocID="{F3E1F9BC-E64A-4033-B228-C6639E3CCDAE}" presName="hierRoot2" presStyleCnt="0">
        <dgm:presLayoutVars>
          <dgm:hierBranch val="init"/>
        </dgm:presLayoutVars>
      </dgm:prSet>
      <dgm:spPr/>
    </dgm:pt>
    <dgm:pt modelId="{413A6321-304C-4B62-BCF6-DF9260BF2A40}" type="pres">
      <dgm:prSet presAssocID="{F3E1F9BC-E64A-4033-B228-C6639E3CCDAE}" presName="rootComposite" presStyleCnt="0"/>
      <dgm:spPr/>
    </dgm:pt>
    <dgm:pt modelId="{EEA1FDCB-6CC4-4975-9EB2-489C034C0DC3}" type="pres">
      <dgm:prSet presAssocID="{F3E1F9BC-E64A-4033-B228-C6639E3CCDAE}" presName="rootText" presStyleLbl="node3" presStyleIdx="2" presStyleCnt="8">
        <dgm:presLayoutVars>
          <dgm:chPref val="3"/>
        </dgm:presLayoutVars>
      </dgm:prSet>
      <dgm:spPr/>
    </dgm:pt>
    <dgm:pt modelId="{DE99B90D-550F-461A-872F-4F86D2336F74}" type="pres">
      <dgm:prSet presAssocID="{F3E1F9BC-E64A-4033-B228-C6639E3CCDAE}" presName="rootConnector" presStyleLbl="node3" presStyleIdx="2" presStyleCnt="8"/>
      <dgm:spPr/>
    </dgm:pt>
    <dgm:pt modelId="{99E4ACB4-6389-47AE-A8A8-D7E8A2BFB34A}" type="pres">
      <dgm:prSet presAssocID="{F3E1F9BC-E64A-4033-B228-C6639E3CCDAE}" presName="hierChild4" presStyleCnt="0"/>
      <dgm:spPr/>
    </dgm:pt>
    <dgm:pt modelId="{E465E860-8F43-4A98-AEDE-2E20519F5797}" type="pres">
      <dgm:prSet presAssocID="{F3E1F9BC-E64A-4033-B228-C6639E3CCDAE}" presName="hierChild5" presStyleCnt="0"/>
      <dgm:spPr/>
    </dgm:pt>
    <dgm:pt modelId="{C6AEE328-CDA5-4F5D-9D50-C4ADD78E5875}" type="pres">
      <dgm:prSet presAssocID="{E6BBABCF-B4F3-4AF9-8434-9591D077FEA4}" presName="hierChild5" presStyleCnt="0"/>
      <dgm:spPr/>
    </dgm:pt>
    <dgm:pt modelId="{4C52EE74-0356-4C25-B91F-868520482B2A}" type="pres">
      <dgm:prSet presAssocID="{3EF3F899-B9C2-42BF-90A2-5B8F4E8CD265}" presName="Name37" presStyleLbl="parChTrans1D2" presStyleIdx="2" presStyleCnt="6"/>
      <dgm:spPr/>
    </dgm:pt>
    <dgm:pt modelId="{7CBA41AE-5E68-4049-A080-F447A2F80C2F}" type="pres">
      <dgm:prSet presAssocID="{44A6095F-01B3-46D7-ACA8-59BFF97FF724}" presName="hierRoot2" presStyleCnt="0">
        <dgm:presLayoutVars>
          <dgm:hierBranch val="init"/>
        </dgm:presLayoutVars>
      </dgm:prSet>
      <dgm:spPr/>
    </dgm:pt>
    <dgm:pt modelId="{C21E61F3-7995-4A09-8B56-8342CA5E1892}" type="pres">
      <dgm:prSet presAssocID="{44A6095F-01B3-46D7-ACA8-59BFF97FF724}" presName="rootComposite" presStyleCnt="0"/>
      <dgm:spPr/>
    </dgm:pt>
    <dgm:pt modelId="{E1DE2E46-16B2-4015-92E2-5DAF1F365AE1}" type="pres">
      <dgm:prSet presAssocID="{44A6095F-01B3-46D7-ACA8-59BFF97FF724}" presName="rootText" presStyleLbl="node2" presStyleIdx="2" presStyleCnt="6">
        <dgm:presLayoutVars>
          <dgm:chPref val="3"/>
        </dgm:presLayoutVars>
      </dgm:prSet>
      <dgm:spPr/>
    </dgm:pt>
    <dgm:pt modelId="{CF544F1E-427F-4F89-81B4-C335DA1BDC14}" type="pres">
      <dgm:prSet presAssocID="{44A6095F-01B3-46D7-ACA8-59BFF97FF724}" presName="rootConnector" presStyleLbl="node2" presStyleIdx="2" presStyleCnt="6"/>
      <dgm:spPr/>
    </dgm:pt>
    <dgm:pt modelId="{5652B981-EB5D-46C5-92A1-A8BB64D8C1F1}" type="pres">
      <dgm:prSet presAssocID="{44A6095F-01B3-46D7-ACA8-59BFF97FF724}" presName="hierChild4" presStyleCnt="0"/>
      <dgm:spPr/>
    </dgm:pt>
    <dgm:pt modelId="{1D9AF061-7EBA-4347-A8BC-7261FF4EE0FE}" type="pres">
      <dgm:prSet presAssocID="{A46D0169-3745-439C-AA9E-555C3E6681EE}" presName="Name37" presStyleLbl="parChTrans1D3" presStyleIdx="3" presStyleCnt="8"/>
      <dgm:spPr/>
    </dgm:pt>
    <dgm:pt modelId="{85F13AA4-3D37-4154-BC7D-72F8D99831B4}" type="pres">
      <dgm:prSet presAssocID="{9640DF1C-87CB-44C5-9239-6487C9B9C423}" presName="hierRoot2" presStyleCnt="0">
        <dgm:presLayoutVars>
          <dgm:hierBranch val="init"/>
        </dgm:presLayoutVars>
      </dgm:prSet>
      <dgm:spPr/>
    </dgm:pt>
    <dgm:pt modelId="{1623EADD-D262-4FD5-9B6E-04510306645F}" type="pres">
      <dgm:prSet presAssocID="{9640DF1C-87CB-44C5-9239-6487C9B9C423}" presName="rootComposite" presStyleCnt="0"/>
      <dgm:spPr/>
    </dgm:pt>
    <dgm:pt modelId="{89F8D768-3E5D-4B44-8E95-6F9D639FD86D}" type="pres">
      <dgm:prSet presAssocID="{9640DF1C-87CB-44C5-9239-6487C9B9C423}" presName="rootText" presStyleLbl="node3" presStyleIdx="3" presStyleCnt="8">
        <dgm:presLayoutVars>
          <dgm:chPref val="3"/>
        </dgm:presLayoutVars>
      </dgm:prSet>
      <dgm:spPr/>
    </dgm:pt>
    <dgm:pt modelId="{88CAF1A3-1134-4F2C-967E-4444DB8F9293}" type="pres">
      <dgm:prSet presAssocID="{9640DF1C-87CB-44C5-9239-6487C9B9C423}" presName="rootConnector" presStyleLbl="node3" presStyleIdx="3" presStyleCnt="8"/>
      <dgm:spPr/>
    </dgm:pt>
    <dgm:pt modelId="{EF0AE002-61C5-484D-B972-1C4908E6FFA3}" type="pres">
      <dgm:prSet presAssocID="{9640DF1C-87CB-44C5-9239-6487C9B9C423}" presName="hierChild4" presStyleCnt="0"/>
      <dgm:spPr/>
    </dgm:pt>
    <dgm:pt modelId="{1F8B1EC3-7535-4209-B805-3EE4649CA1A5}" type="pres">
      <dgm:prSet presAssocID="{9640DF1C-87CB-44C5-9239-6487C9B9C423}" presName="hierChild5" presStyleCnt="0"/>
      <dgm:spPr/>
    </dgm:pt>
    <dgm:pt modelId="{4913AC4D-5FE5-4281-B2AE-1B72AD14BBB5}" type="pres">
      <dgm:prSet presAssocID="{44A6095F-01B3-46D7-ACA8-59BFF97FF724}" presName="hierChild5" presStyleCnt="0"/>
      <dgm:spPr/>
    </dgm:pt>
    <dgm:pt modelId="{21E31310-3922-4953-9D33-E4E289D213CC}" type="pres">
      <dgm:prSet presAssocID="{BD713B9B-0B4E-4375-9F4B-797D5C5B11B3}" presName="Name37" presStyleLbl="parChTrans1D2" presStyleIdx="3" presStyleCnt="6"/>
      <dgm:spPr/>
    </dgm:pt>
    <dgm:pt modelId="{A05C2D35-FBA2-4C8F-8CCC-A3051B469209}" type="pres">
      <dgm:prSet presAssocID="{68A00F09-C8EF-415E-8EBD-EEB41E73675F}" presName="hierRoot2" presStyleCnt="0">
        <dgm:presLayoutVars>
          <dgm:hierBranch val="init"/>
        </dgm:presLayoutVars>
      </dgm:prSet>
      <dgm:spPr/>
    </dgm:pt>
    <dgm:pt modelId="{014C0811-D70F-4906-B1DF-06BC268166C5}" type="pres">
      <dgm:prSet presAssocID="{68A00F09-C8EF-415E-8EBD-EEB41E73675F}" presName="rootComposite" presStyleCnt="0"/>
      <dgm:spPr/>
    </dgm:pt>
    <dgm:pt modelId="{536330F1-3B8A-41C7-8E1D-BE7929ADDB09}" type="pres">
      <dgm:prSet presAssocID="{68A00F09-C8EF-415E-8EBD-EEB41E73675F}" presName="rootText" presStyleLbl="node2" presStyleIdx="3" presStyleCnt="6">
        <dgm:presLayoutVars>
          <dgm:chPref val="3"/>
        </dgm:presLayoutVars>
      </dgm:prSet>
      <dgm:spPr/>
    </dgm:pt>
    <dgm:pt modelId="{2684DBA3-78C0-4B06-94DD-5DD65A0C2049}" type="pres">
      <dgm:prSet presAssocID="{68A00F09-C8EF-415E-8EBD-EEB41E73675F}" presName="rootConnector" presStyleLbl="node2" presStyleIdx="3" presStyleCnt="6"/>
      <dgm:spPr/>
    </dgm:pt>
    <dgm:pt modelId="{5AE0A416-BA3E-4938-9EBA-AC64018ACE8D}" type="pres">
      <dgm:prSet presAssocID="{68A00F09-C8EF-415E-8EBD-EEB41E73675F}" presName="hierChild4" presStyleCnt="0"/>
      <dgm:spPr/>
    </dgm:pt>
    <dgm:pt modelId="{D670FBEC-1DF2-430B-8C23-69D8803583D9}" type="pres">
      <dgm:prSet presAssocID="{98EE9CC4-03BC-44B5-B7C0-2488D6E8AA11}" presName="Name37" presStyleLbl="parChTrans1D3" presStyleIdx="4" presStyleCnt="8"/>
      <dgm:spPr/>
    </dgm:pt>
    <dgm:pt modelId="{7CB9FD27-FFC9-4C09-876A-B8B092C0F880}" type="pres">
      <dgm:prSet presAssocID="{BB75E453-D87A-4379-A7CA-84EAEF6BCA1B}" presName="hierRoot2" presStyleCnt="0">
        <dgm:presLayoutVars>
          <dgm:hierBranch val="init"/>
        </dgm:presLayoutVars>
      </dgm:prSet>
      <dgm:spPr/>
    </dgm:pt>
    <dgm:pt modelId="{38271B57-7727-4A44-A380-9705548766DE}" type="pres">
      <dgm:prSet presAssocID="{BB75E453-D87A-4379-A7CA-84EAEF6BCA1B}" presName="rootComposite" presStyleCnt="0"/>
      <dgm:spPr/>
    </dgm:pt>
    <dgm:pt modelId="{7AD35544-DD7B-471E-B1D4-CEB3F191E25C}" type="pres">
      <dgm:prSet presAssocID="{BB75E453-D87A-4379-A7CA-84EAEF6BCA1B}" presName="rootText" presStyleLbl="node3" presStyleIdx="4" presStyleCnt="8">
        <dgm:presLayoutVars>
          <dgm:chPref val="3"/>
        </dgm:presLayoutVars>
      </dgm:prSet>
      <dgm:spPr/>
    </dgm:pt>
    <dgm:pt modelId="{4861EDCC-48D0-487A-BC7F-E79CF284AAAC}" type="pres">
      <dgm:prSet presAssocID="{BB75E453-D87A-4379-A7CA-84EAEF6BCA1B}" presName="rootConnector" presStyleLbl="node3" presStyleIdx="4" presStyleCnt="8"/>
      <dgm:spPr/>
    </dgm:pt>
    <dgm:pt modelId="{6683CA58-B5D8-4F43-8F52-200DC7A8A10D}" type="pres">
      <dgm:prSet presAssocID="{BB75E453-D87A-4379-A7CA-84EAEF6BCA1B}" presName="hierChild4" presStyleCnt="0"/>
      <dgm:spPr/>
    </dgm:pt>
    <dgm:pt modelId="{2FEFAECF-A411-4492-928E-BEF62CD2C69E}" type="pres">
      <dgm:prSet presAssocID="{BB75E453-D87A-4379-A7CA-84EAEF6BCA1B}" presName="hierChild5" presStyleCnt="0"/>
      <dgm:spPr/>
    </dgm:pt>
    <dgm:pt modelId="{08EED2D6-4336-43AD-A15F-46A46AE07788}" type="pres">
      <dgm:prSet presAssocID="{6B117342-8BF7-401E-9E02-8F4A62F78DF3}" presName="Name37" presStyleLbl="parChTrans1D3" presStyleIdx="5" presStyleCnt="8"/>
      <dgm:spPr/>
    </dgm:pt>
    <dgm:pt modelId="{AEB100EC-FE48-4E3E-83FD-DE01AB7F0CBB}" type="pres">
      <dgm:prSet presAssocID="{3E762538-5931-4801-BDD8-DE69F0364EA2}" presName="hierRoot2" presStyleCnt="0">
        <dgm:presLayoutVars>
          <dgm:hierBranch val="init"/>
        </dgm:presLayoutVars>
      </dgm:prSet>
      <dgm:spPr/>
    </dgm:pt>
    <dgm:pt modelId="{BCB9D628-1C48-4FB6-9A04-84DA5D7626CB}" type="pres">
      <dgm:prSet presAssocID="{3E762538-5931-4801-BDD8-DE69F0364EA2}" presName="rootComposite" presStyleCnt="0"/>
      <dgm:spPr/>
    </dgm:pt>
    <dgm:pt modelId="{85077965-9386-43A5-AF5F-3094EE9DE711}" type="pres">
      <dgm:prSet presAssocID="{3E762538-5931-4801-BDD8-DE69F0364EA2}" presName="rootText" presStyleLbl="node3" presStyleIdx="5" presStyleCnt="8">
        <dgm:presLayoutVars>
          <dgm:chPref val="3"/>
        </dgm:presLayoutVars>
      </dgm:prSet>
      <dgm:spPr/>
    </dgm:pt>
    <dgm:pt modelId="{7BF152E8-4F48-4FE4-89E2-7E1FC238B2B8}" type="pres">
      <dgm:prSet presAssocID="{3E762538-5931-4801-BDD8-DE69F0364EA2}" presName="rootConnector" presStyleLbl="node3" presStyleIdx="5" presStyleCnt="8"/>
      <dgm:spPr/>
    </dgm:pt>
    <dgm:pt modelId="{277AF4DA-3E41-4DF8-B70B-AE71A7E1D820}" type="pres">
      <dgm:prSet presAssocID="{3E762538-5931-4801-BDD8-DE69F0364EA2}" presName="hierChild4" presStyleCnt="0"/>
      <dgm:spPr/>
    </dgm:pt>
    <dgm:pt modelId="{8AC70140-575C-414A-BC7D-D2B95417AD46}" type="pres">
      <dgm:prSet presAssocID="{3E762538-5931-4801-BDD8-DE69F0364EA2}" presName="hierChild5" presStyleCnt="0"/>
      <dgm:spPr/>
    </dgm:pt>
    <dgm:pt modelId="{5CEE0DA5-4DB5-4C6D-9D4F-04C8EE236337}" type="pres">
      <dgm:prSet presAssocID="{68A00F09-C8EF-415E-8EBD-EEB41E73675F}" presName="hierChild5" presStyleCnt="0"/>
      <dgm:spPr/>
    </dgm:pt>
    <dgm:pt modelId="{572E9595-B62C-4B11-8CC9-533A5F64055C}" type="pres">
      <dgm:prSet presAssocID="{02B708C9-C349-4D83-8FC9-895C6D41CDA5}" presName="Name37" presStyleLbl="parChTrans1D2" presStyleIdx="4" presStyleCnt="6"/>
      <dgm:spPr/>
    </dgm:pt>
    <dgm:pt modelId="{310B115F-B7EE-4882-82B1-443C493F1281}" type="pres">
      <dgm:prSet presAssocID="{3AE28DCE-3A07-4207-A1E0-9165A8CCD462}" presName="hierRoot2" presStyleCnt="0">
        <dgm:presLayoutVars>
          <dgm:hierBranch val="init"/>
        </dgm:presLayoutVars>
      </dgm:prSet>
      <dgm:spPr/>
    </dgm:pt>
    <dgm:pt modelId="{6B44949C-0511-43A4-8CC2-D6305AA532F2}" type="pres">
      <dgm:prSet presAssocID="{3AE28DCE-3A07-4207-A1E0-9165A8CCD462}" presName="rootComposite" presStyleCnt="0"/>
      <dgm:spPr/>
    </dgm:pt>
    <dgm:pt modelId="{D2B68863-E509-42B4-BA2D-4186173895B7}" type="pres">
      <dgm:prSet presAssocID="{3AE28DCE-3A07-4207-A1E0-9165A8CCD462}" presName="rootText" presStyleLbl="node2" presStyleIdx="4" presStyleCnt="6">
        <dgm:presLayoutVars>
          <dgm:chPref val="3"/>
        </dgm:presLayoutVars>
      </dgm:prSet>
      <dgm:spPr/>
    </dgm:pt>
    <dgm:pt modelId="{B1FC7BD9-A9CE-4723-B57B-9D435B587839}" type="pres">
      <dgm:prSet presAssocID="{3AE28DCE-3A07-4207-A1E0-9165A8CCD462}" presName="rootConnector" presStyleLbl="node2" presStyleIdx="4" presStyleCnt="6"/>
      <dgm:spPr/>
    </dgm:pt>
    <dgm:pt modelId="{76828566-2627-4228-902C-3340B4E90678}" type="pres">
      <dgm:prSet presAssocID="{3AE28DCE-3A07-4207-A1E0-9165A8CCD462}" presName="hierChild4" presStyleCnt="0"/>
      <dgm:spPr/>
    </dgm:pt>
    <dgm:pt modelId="{10512857-0B57-4DDB-B454-36099BB08B17}" type="pres">
      <dgm:prSet presAssocID="{F8AD2BBD-227D-4D8E-A917-3550931445DE}" presName="Name37" presStyleLbl="parChTrans1D3" presStyleIdx="6" presStyleCnt="8"/>
      <dgm:spPr/>
    </dgm:pt>
    <dgm:pt modelId="{F1713120-1E6D-4545-A693-4B0FE2629CD0}" type="pres">
      <dgm:prSet presAssocID="{7AEE2A53-3AA4-4869-BFBE-3D2151ACC86A}" presName="hierRoot2" presStyleCnt="0">
        <dgm:presLayoutVars>
          <dgm:hierBranch val="init"/>
        </dgm:presLayoutVars>
      </dgm:prSet>
      <dgm:spPr/>
    </dgm:pt>
    <dgm:pt modelId="{8917A774-BD13-42E5-9155-6F890B53EF96}" type="pres">
      <dgm:prSet presAssocID="{7AEE2A53-3AA4-4869-BFBE-3D2151ACC86A}" presName="rootComposite" presStyleCnt="0"/>
      <dgm:spPr/>
    </dgm:pt>
    <dgm:pt modelId="{6ED6E5A9-3058-4EA2-AB65-F57AED0152C0}" type="pres">
      <dgm:prSet presAssocID="{7AEE2A53-3AA4-4869-BFBE-3D2151ACC86A}" presName="rootText" presStyleLbl="node3" presStyleIdx="6" presStyleCnt="8">
        <dgm:presLayoutVars>
          <dgm:chPref val="3"/>
        </dgm:presLayoutVars>
      </dgm:prSet>
      <dgm:spPr/>
    </dgm:pt>
    <dgm:pt modelId="{E4A715E6-F79A-44A0-BE72-F6EEF2F558BB}" type="pres">
      <dgm:prSet presAssocID="{7AEE2A53-3AA4-4869-BFBE-3D2151ACC86A}" presName="rootConnector" presStyleLbl="node3" presStyleIdx="6" presStyleCnt="8"/>
      <dgm:spPr/>
    </dgm:pt>
    <dgm:pt modelId="{1FA6F06D-B98A-4D62-B1F1-B676987FE881}" type="pres">
      <dgm:prSet presAssocID="{7AEE2A53-3AA4-4869-BFBE-3D2151ACC86A}" presName="hierChild4" presStyleCnt="0"/>
      <dgm:spPr/>
    </dgm:pt>
    <dgm:pt modelId="{755DF595-6B9A-4896-88B1-1F15A05BD976}" type="pres">
      <dgm:prSet presAssocID="{7AEE2A53-3AA4-4869-BFBE-3D2151ACC86A}" presName="hierChild5" presStyleCnt="0"/>
      <dgm:spPr/>
    </dgm:pt>
    <dgm:pt modelId="{28B53702-4EB6-4729-9A0A-7183774587ED}" type="pres">
      <dgm:prSet presAssocID="{3AE28DCE-3A07-4207-A1E0-9165A8CCD462}" presName="hierChild5" presStyleCnt="0"/>
      <dgm:spPr/>
    </dgm:pt>
    <dgm:pt modelId="{1CA6E809-E306-4E5E-ABB8-D4C0D0790172}" type="pres">
      <dgm:prSet presAssocID="{7DA4E863-6E10-410F-9CC7-CC0FB44665B0}" presName="Name37" presStyleLbl="parChTrans1D2" presStyleIdx="5" presStyleCnt="6"/>
      <dgm:spPr/>
    </dgm:pt>
    <dgm:pt modelId="{EA83E1AD-EEC6-4C35-80C7-0B3BA25A9C47}" type="pres">
      <dgm:prSet presAssocID="{7376B8AB-F6D5-4492-84D6-1B78E581E031}" presName="hierRoot2" presStyleCnt="0">
        <dgm:presLayoutVars>
          <dgm:hierBranch val="init"/>
        </dgm:presLayoutVars>
      </dgm:prSet>
      <dgm:spPr/>
    </dgm:pt>
    <dgm:pt modelId="{E6A4E5C5-C1E2-42FA-9545-3B56C387F1A2}" type="pres">
      <dgm:prSet presAssocID="{7376B8AB-F6D5-4492-84D6-1B78E581E031}" presName="rootComposite" presStyleCnt="0"/>
      <dgm:spPr/>
    </dgm:pt>
    <dgm:pt modelId="{882FD136-E806-4591-9F05-7BC9DD076C7E}" type="pres">
      <dgm:prSet presAssocID="{7376B8AB-F6D5-4492-84D6-1B78E581E031}" presName="rootText" presStyleLbl="node2" presStyleIdx="5" presStyleCnt="6">
        <dgm:presLayoutVars>
          <dgm:chPref val="3"/>
        </dgm:presLayoutVars>
      </dgm:prSet>
      <dgm:spPr/>
    </dgm:pt>
    <dgm:pt modelId="{1D671BCA-0197-4302-8C01-B83D6263959D}" type="pres">
      <dgm:prSet presAssocID="{7376B8AB-F6D5-4492-84D6-1B78E581E031}" presName="rootConnector" presStyleLbl="node2" presStyleIdx="5" presStyleCnt="6"/>
      <dgm:spPr/>
    </dgm:pt>
    <dgm:pt modelId="{2C42D41A-DC16-4355-A04A-3218541BB51B}" type="pres">
      <dgm:prSet presAssocID="{7376B8AB-F6D5-4492-84D6-1B78E581E031}" presName="hierChild4" presStyleCnt="0"/>
      <dgm:spPr/>
    </dgm:pt>
    <dgm:pt modelId="{AAB20E82-75D3-4A70-A5F8-7F22D99A618D}" type="pres">
      <dgm:prSet presAssocID="{0E9B0A82-7AC6-4971-A1B5-E21FA19B1B64}" presName="Name37" presStyleLbl="parChTrans1D3" presStyleIdx="7" presStyleCnt="8"/>
      <dgm:spPr/>
    </dgm:pt>
    <dgm:pt modelId="{56166F75-6345-42F6-9F97-622A6AE02C43}" type="pres">
      <dgm:prSet presAssocID="{B78CDDF9-D644-4EFC-9D35-D8F93F271062}" presName="hierRoot2" presStyleCnt="0">
        <dgm:presLayoutVars>
          <dgm:hierBranch val="init"/>
        </dgm:presLayoutVars>
      </dgm:prSet>
      <dgm:spPr/>
    </dgm:pt>
    <dgm:pt modelId="{6CE94A7E-3191-40FF-B1E1-CC22D6B5238D}" type="pres">
      <dgm:prSet presAssocID="{B78CDDF9-D644-4EFC-9D35-D8F93F271062}" presName="rootComposite" presStyleCnt="0"/>
      <dgm:spPr/>
    </dgm:pt>
    <dgm:pt modelId="{03C867D7-4F26-4BE0-91DC-A6C967091C77}" type="pres">
      <dgm:prSet presAssocID="{B78CDDF9-D644-4EFC-9D35-D8F93F271062}" presName="rootText" presStyleLbl="node3" presStyleIdx="7" presStyleCnt="8">
        <dgm:presLayoutVars>
          <dgm:chPref val="3"/>
        </dgm:presLayoutVars>
      </dgm:prSet>
      <dgm:spPr/>
    </dgm:pt>
    <dgm:pt modelId="{D4BDC31F-8C35-4791-BA03-F75BA4A7DFC8}" type="pres">
      <dgm:prSet presAssocID="{B78CDDF9-D644-4EFC-9D35-D8F93F271062}" presName="rootConnector" presStyleLbl="node3" presStyleIdx="7" presStyleCnt="8"/>
      <dgm:spPr/>
    </dgm:pt>
    <dgm:pt modelId="{91EBE6E2-73CE-453B-8CF7-278CD6CD2322}" type="pres">
      <dgm:prSet presAssocID="{B78CDDF9-D644-4EFC-9D35-D8F93F271062}" presName="hierChild4" presStyleCnt="0"/>
      <dgm:spPr/>
    </dgm:pt>
    <dgm:pt modelId="{6A03FAD6-341D-449C-A87C-B9FD9D7864CB}" type="pres">
      <dgm:prSet presAssocID="{B78CDDF9-D644-4EFC-9D35-D8F93F271062}" presName="hierChild5" presStyleCnt="0"/>
      <dgm:spPr/>
    </dgm:pt>
    <dgm:pt modelId="{DB58EE88-474C-46B2-A197-DF0E3B1C5888}" type="pres">
      <dgm:prSet presAssocID="{7376B8AB-F6D5-4492-84D6-1B78E581E031}" presName="hierChild5" presStyleCnt="0"/>
      <dgm:spPr/>
    </dgm:pt>
    <dgm:pt modelId="{AFA1FF3F-63F4-4AC3-BA15-C3587C8CFD46}" type="pres">
      <dgm:prSet presAssocID="{040DD76E-56CF-4F27-8CA4-0108832BD7ED}" presName="hierChild3" presStyleCnt="0"/>
      <dgm:spPr/>
    </dgm:pt>
  </dgm:ptLst>
  <dgm:cxnLst>
    <dgm:cxn modelId="{A833B400-FA5A-4361-B415-CAFA64BA25BF}" type="presOf" srcId="{7376B8AB-F6D5-4492-84D6-1B78E581E031}" destId="{1D671BCA-0197-4302-8C01-B83D6263959D}" srcOrd="1" destOrd="0" presId="urn:microsoft.com/office/officeart/2005/8/layout/orgChart1"/>
    <dgm:cxn modelId="{176D6E0D-B9A2-4485-831A-553759FCBABA}" type="presOf" srcId="{3E762538-5931-4801-BDD8-DE69F0364EA2}" destId="{85077965-9386-43A5-AF5F-3094EE9DE711}" srcOrd="0" destOrd="0" presId="urn:microsoft.com/office/officeart/2005/8/layout/orgChart1"/>
    <dgm:cxn modelId="{B52CF30F-8515-468D-B0C5-130E8E5B7C9D}" type="presOf" srcId="{3E762538-5931-4801-BDD8-DE69F0364EA2}" destId="{7BF152E8-4F48-4FE4-89E2-7E1FC238B2B8}" srcOrd="1" destOrd="0" presId="urn:microsoft.com/office/officeart/2005/8/layout/orgChart1"/>
    <dgm:cxn modelId="{07159011-37D4-4F77-AADA-7B2E7F223860}" type="presOf" srcId="{0FBBE1D2-E3B8-48C8-8CEF-7012A3CC0D82}" destId="{EBDDD33B-F223-442F-AD4D-758B0D923474}" srcOrd="0" destOrd="0" presId="urn:microsoft.com/office/officeart/2005/8/layout/orgChart1"/>
    <dgm:cxn modelId="{92B95017-A023-4C5A-B91E-592D175CC998}" type="presOf" srcId="{F3D9C5D6-9DE8-4177-BDDA-09FDE4230AB8}" destId="{4C81A2DE-EFF4-450D-A4F6-26F811063965}" srcOrd="0" destOrd="0" presId="urn:microsoft.com/office/officeart/2005/8/layout/orgChart1"/>
    <dgm:cxn modelId="{7C9BAE17-E9EF-4A0B-A814-F03BED44A7F5}" type="presOf" srcId="{68A00F09-C8EF-415E-8EBD-EEB41E73675F}" destId="{536330F1-3B8A-41C7-8E1D-BE7929ADDB09}" srcOrd="0" destOrd="0" presId="urn:microsoft.com/office/officeart/2005/8/layout/orgChart1"/>
    <dgm:cxn modelId="{7196C31B-7E53-4070-9F8F-82E979FDDCBC}" type="presOf" srcId="{9640DF1C-87CB-44C5-9239-6487C9B9C423}" destId="{88CAF1A3-1134-4F2C-967E-4444DB8F9293}" srcOrd="1" destOrd="0" presId="urn:microsoft.com/office/officeart/2005/8/layout/orgChart1"/>
    <dgm:cxn modelId="{1644BB24-10C6-47FA-A04E-5BA954EC01C4}" type="presOf" srcId="{44A6095F-01B3-46D7-ACA8-59BFF97FF724}" destId="{E1DE2E46-16B2-4015-92E2-5DAF1F365AE1}" srcOrd="0" destOrd="0" presId="urn:microsoft.com/office/officeart/2005/8/layout/orgChart1"/>
    <dgm:cxn modelId="{9C63C425-0835-421A-9ADA-62FD21E7DD60}" type="presOf" srcId="{B0B08AD3-7E8F-4CCB-8EE5-95755C96C5E6}" destId="{1E4901C0-6F9B-4DA4-87FB-B3A540B72804}" srcOrd="1" destOrd="0" presId="urn:microsoft.com/office/officeart/2005/8/layout/orgChart1"/>
    <dgm:cxn modelId="{E2E24028-6246-4C7F-8A3F-9A9CAE3B8D9D}" type="presOf" srcId="{6B117342-8BF7-401E-9E02-8F4A62F78DF3}" destId="{08EED2D6-4336-43AD-A15F-46A46AE07788}" srcOrd="0" destOrd="0" presId="urn:microsoft.com/office/officeart/2005/8/layout/orgChart1"/>
    <dgm:cxn modelId="{BC00FE28-F7F9-4D65-8DB4-9D0D54614DC3}" srcId="{040DD76E-56CF-4F27-8CA4-0108832BD7ED}" destId="{E6BBABCF-B4F3-4AF9-8434-9591D077FEA4}" srcOrd="1" destOrd="0" parTransId="{F1584D0C-5E37-4548-B3EB-0BDA21BE560E}" sibTransId="{754A5880-694A-422E-A841-93451E7DC8E5}"/>
    <dgm:cxn modelId="{B8FA842A-39FA-493F-916E-5C3CDC23E630}" type="presOf" srcId="{7AEE2A53-3AA4-4869-BFBE-3D2151ACC86A}" destId="{6ED6E5A9-3058-4EA2-AB65-F57AED0152C0}" srcOrd="0" destOrd="0" presId="urn:microsoft.com/office/officeart/2005/8/layout/orgChart1"/>
    <dgm:cxn modelId="{CC102530-DD63-4183-93B5-34AB96D3144F}" type="presOf" srcId="{7DA4E863-6E10-410F-9CC7-CC0FB44665B0}" destId="{1CA6E809-E306-4E5E-ABB8-D4C0D0790172}" srcOrd="0" destOrd="0" presId="urn:microsoft.com/office/officeart/2005/8/layout/orgChart1"/>
    <dgm:cxn modelId="{18479E31-46D9-4D73-BF0E-2B5B8B657BC6}" type="presOf" srcId="{B78CDDF9-D644-4EFC-9D35-D8F93F271062}" destId="{D4BDC31F-8C35-4791-BA03-F75BA4A7DFC8}" srcOrd="1" destOrd="0" presId="urn:microsoft.com/office/officeart/2005/8/layout/orgChart1"/>
    <dgm:cxn modelId="{D1F8C034-D6C9-478B-8F95-476B81D62733}" srcId="{657B01EA-8E39-4E3A-9F6D-8F0A58482FD1}" destId="{040DD76E-56CF-4F27-8CA4-0108832BD7ED}" srcOrd="0" destOrd="0" parTransId="{4D55124F-90D9-48BD-999E-5F2DAB5F60FA}" sibTransId="{C0B3860E-D7E0-462C-9C2F-9FEAA12BE6FA}"/>
    <dgm:cxn modelId="{AEC6AC37-8E52-46BC-9E72-A605823B82DB}" type="presOf" srcId="{07755452-2F6F-4B08-9D32-8355C5631F3C}" destId="{83BD8425-4637-470F-AE6B-D0A1E10324CC}" srcOrd="0" destOrd="0" presId="urn:microsoft.com/office/officeart/2005/8/layout/orgChart1"/>
    <dgm:cxn modelId="{9D29B33D-528D-46E1-9B8C-78D5CF16E372}" type="presOf" srcId="{F8AD2BBD-227D-4D8E-A917-3550931445DE}" destId="{10512857-0B57-4DDB-B454-36099BB08B17}" srcOrd="0" destOrd="0" presId="urn:microsoft.com/office/officeart/2005/8/layout/orgChart1"/>
    <dgm:cxn modelId="{8314095F-DD37-480A-95A6-F20329933FE1}" type="presOf" srcId="{B78CDDF9-D644-4EFC-9D35-D8F93F271062}" destId="{03C867D7-4F26-4BE0-91DC-A6C967091C77}" srcOrd="0" destOrd="0" presId="urn:microsoft.com/office/officeart/2005/8/layout/orgChart1"/>
    <dgm:cxn modelId="{AAAEEE60-E33D-4C84-A931-D8D9DF947B26}" type="presOf" srcId="{49215C61-813C-49AD-8790-8F617AF98E45}" destId="{D9C17448-03BF-455E-81B4-0E40B4832EF8}" srcOrd="0" destOrd="0" presId="urn:microsoft.com/office/officeart/2005/8/layout/orgChart1"/>
    <dgm:cxn modelId="{B5920C61-5A13-4092-BAFE-0E4A04C54F82}" type="presOf" srcId="{BD713B9B-0B4E-4375-9F4B-797D5C5B11B3}" destId="{21E31310-3922-4953-9D33-E4E289D213CC}" srcOrd="0" destOrd="0" presId="urn:microsoft.com/office/officeart/2005/8/layout/orgChart1"/>
    <dgm:cxn modelId="{5067A661-388A-491A-B439-E8CECB582549}" type="presOf" srcId="{3AE28DCE-3A07-4207-A1E0-9165A8CCD462}" destId="{D2B68863-E509-42B4-BA2D-4186173895B7}" srcOrd="0" destOrd="0" presId="urn:microsoft.com/office/officeart/2005/8/layout/orgChart1"/>
    <dgm:cxn modelId="{DB5EE962-FBA5-47BA-B3F2-5AF185272ED8}" type="presOf" srcId="{7376B8AB-F6D5-4492-84D6-1B78E581E031}" destId="{882FD136-E806-4591-9F05-7BC9DD076C7E}" srcOrd="0" destOrd="0" presId="urn:microsoft.com/office/officeart/2005/8/layout/orgChart1"/>
    <dgm:cxn modelId="{9D23FA42-A33C-4C40-B2A1-7A02B8FF888E}" type="presOf" srcId="{BB75E453-D87A-4379-A7CA-84EAEF6BCA1B}" destId="{7AD35544-DD7B-471E-B1D4-CEB3F191E25C}" srcOrd="0" destOrd="0" presId="urn:microsoft.com/office/officeart/2005/8/layout/orgChart1"/>
    <dgm:cxn modelId="{DC5CDF45-3F32-421F-A398-ACA31E25F524}" type="presOf" srcId="{E6BBABCF-B4F3-4AF9-8434-9591D077FEA4}" destId="{6686D3FD-FA2D-4FAF-B389-24EBA3D8E154}" srcOrd="1" destOrd="0" presId="urn:microsoft.com/office/officeart/2005/8/layout/orgChart1"/>
    <dgm:cxn modelId="{C0A28949-A8F0-4242-B287-AB6A03664761}" srcId="{F3D9C5D6-9DE8-4177-BDDA-09FDE4230AB8}" destId="{B0B08AD3-7E8F-4CCB-8EE5-95755C96C5E6}" srcOrd="0" destOrd="0" parTransId="{07755452-2F6F-4B08-9D32-8355C5631F3C}" sibTransId="{92B3F77C-7F86-4B63-BAE9-C88466DFAD82}"/>
    <dgm:cxn modelId="{5AD7D16C-94AD-4080-B0D7-E48E256BAF88}" type="presOf" srcId="{040DD76E-56CF-4F27-8CA4-0108832BD7ED}" destId="{3F05053A-AD92-4CA9-987A-54503EE74A75}" srcOrd="0" destOrd="0" presId="urn:microsoft.com/office/officeart/2005/8/layout/orgChart1"/>
    <dgm:cxn modelId="{FAC7FD53-2A3F-427E-A014-D42D284FB84F}" type="presOf" srcId="{02B708C9-C349-4D83-8FC9-895C6D41CDA5}" destId="{572E9595-B62C-4B11-8CC9-533A5F64055C}" srcOrd="0" destOrd="0" presId="urn:microsoft.com/office/officeart/2005/8/layout/orgChart1"/>
    <dgm:cxn modelId="{9568B975-AEBA-4962-9E27-929A0D8F5663}" type="presOf" srcId="{F3E1F9BC-E64A-4033-B228-C6639E3CCDAE}" destId="{EEA1FDCB-6CC4-4975-9EB2-489C034C0DC3}" srcOrd="0" destOrd="0" presId="urn:microsoft.com/office/officeart/2005/8/layout/orgChart1"/>
    <dgm:cxn modelId="{61857D77-59D1-4BD0-94D8-AA9C9A1854CD}" type="presOf" srcId="{9640DF1C-87CB-44C5-9239-6487C9B9C423}" destId="{89F8D768-3E5D-4B44-8E95-6F9D639FD86D}" srcOrd="0" destOrd="0" presId="urn:microsoft.com/office/officeart/2005/8/layout/orgChart1"/>
    <dgm:cxn modelId="{EF6FD381-8F07-4DE7-9B20-581D4AC7ABA6}" srcId="{040DD76E-56CF-4F27-8CA4-0108832BD7ED}" destId="{7376B8AB-F6D5-4492-84D6-1B78E581E031}" srcOrd="5" destOrd="0" parTransId="{7DA4E863-6E10-410F-9CC7-CC0FB44665B0}" sibTransId="{266DF1B3-5D1C-48FA-9E32-AD5F26EB150A}"/>
    <dgm:cxn modelId="{D06F1684-8E38-4FF0-9644-275910E88863}" type="presOf" srcId="{68A00F09-C8EF-415E-8EBD-EEB41E73675F}" destId="{2684DBA3-78C0-4B06-94DD-5DD65A0C2049}" srcOrd="1" destOrd="0" presId="urn:microsoft.com/office/officeart/2005/8/layout/orgChart1"/>
    <dgm:cxn modelId="{C66BE68A-8FDC-4548-95A4-F9EE3FBC5788}" type="presOf" srcId="{F1584D0C-5E37-4548-B3EB-0BDA21BE560E}" destId="{C6BD306B-5271-4AAB-B0DF-CEFC95E2DEDA}" srcOrd="0" destOrd="0" presId="urn:microsoft.com/office/officeart/2005/8/layout/orgChart1"/>
    <dgm:cxn modelId="{FE03D094-FA54-4C1B-94B4-E871632E7629}" type="presOf" srcId="{657B01EA-8E39-4E3A-9F6D-8F0A58482FD1}" destId="{5A8CF5A0-04D6-4202-A427-90CEF02E67DA}" srcOrd="0" destOrd="0" presId="urn:microsoft.com/office/officeart/2005/8/layout/orgChart1"/>
    <dgm:cxn modelId="{EA16ED9C-D66E-4CEC-824C-898E62146812}" type="presOf" srcId="{7AEE2A53-3AA4-4869-BFBE-3D2151ACC86A}" destId="{E4A715E6-F79A-44A0-BE72-F6EEF2F558BB}" srcOrd="1" destOrd="0" presId="urn:microsoft.com/office/officeart/2005/8/layout/orgChart1"/>
    <dgm:cxn modelId="{0CF09FA1-480E-499F-8894-AEB60256E823}" srcId="{7376B8AB-F6D5-4492-84D6-1B78E581E031}" destId="{B78CDDF9-D644-4EFC-9D35-D8F93F271062}" srcOrd="0" destOrd="0" parTransId="{0E9B0A82-7AC6-4971-A1B5-E21FA19B1B64}" sibTransId="{FB37CB85-EB1F-41FE-8D7D-2F83B315E7BC}"/>
    <dgm:cxn modelId="{7B9216A3-BEFF-432E-9E99-3593F7873ACD}" type="presOf" srcId="{E6BBABCF-B4F3-4AF9-8434-9591D077FEA4}" destId="{5E847E10-187B-4687-8167-957754E0FCEF}" srcOrd="0" destOrd="0" presId="urn:microsoft.com/office/officeart/2005/8/layout/orgChart1"/>
    <dgm:cxn modelId="{95825CA3-1C38-4B58-8710-24C7EC16AEA6}" type="presOf" srcId="{93588496-DDB1-42F7-B846-773FEE859A69}" destId="{E77731A4-8E9B-4D51-BF6F-6DEB0C17C564}" srcOrd="0" destOrd="0" presId="urn:microsoft.com/office/officeart/2005/8/layout/orgChart1"/>
    <dgm:cxn modelId="{221F47AE-6789-45A1-AADB-A69CD642B136}" type="presOf" srcId="{040DD76E-56CF-4F27-8CA4-0108832BD7ED}" destId="{7838C66F-F3A6-4223-B437-57106BAAF667}" srcOrd="1" destOrd="0" presId="urn:microsoft.com/office/officeart/2005/8/layout/orgChart1"/>
    <dgm:cxn modelId="{0E19DEB1-FB21-465F-A42C-A27308DF210E}" srcId="{040DD76E-56CF-4F27-8CA4-0108832BD7ED}" destId="{68A00F09-C8EF-415E-8EBD-EEB41E73675F}" srcOrd="3" destOrd="0" parTransId="{BD713B9B-0B4E-4375-9F4B-797D5C5B11B3}" sibTransId="{2B1968FE-E259-408C-BAEB-F2E324209725}"/>
    <dgm:cxn modelId="{D9FA2EB2-F650-4F1E-8076-215CE00ADFAB}" type="presOf" srcId="{B0B08AD3-7E8F-4CCB-8EE5-95755C96C5E6}" destId="{89114272-CF0C-48B7-B7BE-64C65636C5F4}" srcOrd="0" destOrd="0" presId="urn:microsoft.com/office/officeart/2005/8/layout/orgChart1"/>
    <dgm:cxn modelId="{3849C2B3-2E54-46AC-B69B-F828F9ECE8B1}" srcId="{040DD76E-56CF-4F27-8CA4-0108832BD7ED}" destId="{F3D9C5D6-9DE8-4177-BDDA-09FDE4230AB8}" srcOrd="0" destOrd="0" parTransId="{0FBBE1D2-E3B8-48C8-8CEF-7012A3CC0D82}" sibTransId="{90EACE78-02C0-4B71-B050-09BBF3B13A15}"/>
    <dgm:cxn modelId="{58EB87B5-FAA1-4274-B85C-780BE9C77654}" type="presOf" srcId="{98EE9CC4-03BC-44B5-B7C0-2488D6E8AA11}" destId="{D670FBEC-1DF2-430B-8C23-69D8803583D9}" srcOrd="0" destOrd="0" presId="urn:microsoft.com/office/officeart/2005/8/layout/orgChart1"/>
    <dgm:cxn modelId="{C7D237B7-E4B7-4BEF-BCA8-B20DAD3B56F2}" srcId="{3AE28DCE-3A07-4207-A1E0-9165A8CCD462}" destId="{7AEE2A53-3AA4-4869-BFBE-3D2151ACC86A}" srcOrd="0" destOrd="0" parTransId="{F8AD2BBD-227D-4D8E-A917-3550931445DE}" sibTransId="{CD87A51A-8C9C-4EF6-B330-DDC2777ECBC3}"/>
    <dgm:cxn modelId="{2BB9E1BB-FB84-49BF-AD9C-88A8FE2EF356}" type="presOf" srcId="{0E9B0A82-7AC6-4971-A1B5-E21FA19B1B64}" destId="{AAB20E82-75D3-4A70-A5F8-7F22D99A618D}" srcOrd="0" destOrd="0" presId="urn:microsoft.com/office/officeart/2005/8/layout/orgChart1"/>
    <dgm:cxn modelId="{2D02C6C1-2527-4C76-9A80-C5EDAA02A16D}" srcId="{040DD76E-56CF-4F27-8CA4-0108832BD7ED}" destId="{3AE28DCE-3A07-4207-A1E0-9165A8CCD462}" srcOrd="4" destOrd="0" parTransId="{02B708C9-C349-4D83-8FC9-895C6D41CDA5}" sibTransId="{574298C8-FC34-47A4-9C00-00A8C40B6354}"/>
    <dgm:cxn modelId="{B45341C6-8E8F-4C3F-A320-97B2E293C9A0}" type="presOf" srcId="{F3E1F9BC-E64A-4033-B228-C6639E3CCDAE}" destId="{DE99B90D-550F-461A-872F-4F86D2336F74}" srcOrd="1" destOrd="0" presId="urn:microsoft.com/office/officeart/2005/8/layout/orgChart1"/>
    <dgm:cxn modelId="{9C9186C8-356D-4CA4-8692-8429C3FA9ECD}" type="presOf" srcId="{A46D0169-3745-439C-AA9E-555C3E6681EE}" destId="{1D9AF061-7EBA-4347-A8BC-7261FF4EE0FE}" srcOrd="0" destOrd="0" presId="urn:microsoft.com/office/officeart/2005/8/layout/orgChart1"/>
    <dgm:cxn modelId="{41A1D0C9-285C-4059-AFF2-519E8DE5DBBD}" srcId="{E6BBABCF-B4F3-4AF9-8434-9591D077FEA4}" destId="{F3E1F9BC-E64A-4033-B228-C6639E3CCDAE}" srcOrd="1" destOrd="0" parTransId="{95E76312-19DC-4E95-9881-0BDC663C80FD}" sibTransId="{7626D11E-5148-4212-AA30-4BEE0E65B103}"/>
    <dgm:cxn modelId="{DE29FBD1-EC69-4282-BCB6-4A7617E91B0A}" type="presOf" srcId="{95E76312-19DC-4E95-9881-0BDC663C80FD}" destId="{F9AE505A-FCFA-4988-826B-BCAC919006B8}" srcOrd="0" destOrd="0" presId="urn:microsoft.com/office/officeart/2005/8/layout/orgChart1"/>
    <dgm:cxn modelId="{7E3BB6DC-E906-41D1-AA9D-FB745373EB61}" srcId="{040DD76E-56CF-4F27-8CA4-0108832BD7ED}" destId="{44A6095F-01B3-46D7-ACA8-59BFF97FF724}" srcOrd="2" destOrd="0" parTransId="{3EF3F899-B9C2-42BF-90A2-5B8F4E8CD265}" sibTransId="{8E549D37-3CA8-47E9-A5D4-843188300CCE}"/>
    <dgm:cxn modelId="{F7F23BE2-6C2B-4606-A5A3-11929007A55A}" type="presOf" srcId="{F3D9C5D6-9DE8-4177-BDDA-09FDE4230AB8}" destId="{FB0F3030-49DA-455A-81AD-319B9E708491}" srcOrd="1" destOrd="0" presId="urn:microsoft.com/office/officeart/2005/8/layout/orgChart1"/>
    <dgm:cxn modelId="{E4C082E2-CB3A-4045-8213-62E757F4F0F2}" type="presOf" srcId="{3EF3F899-B9C2-42BF-90A2-5B8F4E8CD265}" destId="{4C52EE74-0356-4C25-B91F-868520482B2A}" srcOrd="0" destOrd="0" presId="urn:microsoft.com/office/officeart/2005/8/layout/orgChart1"/>
    <dgm:cxn modelId="{9C8E89E5-4FFE-487A-9C00-9A53DC073B25}" srcId="{44A6095F-01B3-46D7-ACA8-59BFF97FF724}" destId="{9640DF1C-87CB-44C5-9239-6487C9B9C423}" srcOrd="0" destOrd="0" parTransId="{A46D0169-3745-439C-AA9E-555C3E6681EE}" sibTransId="{64F53395-4AD8-4B14-ABDA-EC1E26A82B9C}"/>
    <dgm:cxn modelId="{40589EE7-C81A-41AF-8F84-9FF38EB64853}" srcId="{68A00F09-C8EF-415E-8EBD-EEB41E73675F}" destId="{3E762538-5931-4801-BDD8-DE69F0364EA2}" srcOrd="1" destOrd="0" parTransId="{6B117342-8BF7-401E-9E02-8F4A62F78DF3}" sibTransId="{C7AF997D-6293-4374-A351-7FF043F78110}"/>
    <dgm:cxn modelId="{35F811EB-4852-472B-82E7-67A5CBE1D39F}" type="presOf" srcId="{93588496-DDB1-42F7-B846-773FEE859A69}" destId="{3C9A76A6-45A7-4644-ABDE-46A7039D3E1D}" srcOrd="1" destOrd="0" presId="urn:microsoft.com/office/officeart/2005/8/layout/orgChart1"/>
    <dgm:cxn modelId="{F2A231EF-A659-4B52-A47B-D5AC6A1BF468}" type="presOf" srcId="{44A6095F-01B3-46D7-ACA8-59BFF97FF724}" destId="{CF544F1E-427F-4F89-81B4-C335DA1BDC14}" srcOrd="1" destOrd="0" presId="urn:microsoft.com/office/officeart/2005/8/layout/orgChart1"/>
    <dgm:cxn modelId="{F8C839F0-1284-4B1E-9BF5-98CD541FC114}" srcId="{68A00F09-C8EF-415E-8EBD-EEB41E73675F}" destId="{BB75E453-D87A-4379-A7CA-84EAEF6BCA1B}" srcOrd="0" destOrd="0" parTransId="{98EE9CC4-03BC-44B5-B7C0-2488D6E8AA11}" sibTransId="{262AE259-124B-4E28-9BDA-2799089D87C6}"/>
    <dgm:cxn modelId="{25D5A3F6-AE13-4BAC-9ADB-1745DFDA9938}" type="presOf" srcId="{BB75E453-D87A-4379-A7CA-84EAEF6BCA1B}" destId="{4861EDCC-48D0-487A-BC7F-E79CF284AAAC}" srcOrd="1" destOrd="0" presId="urn:microsoft.com/office/officeart/2005/8/layout/orgChart1"/>
    <dgm:cxn modelId="{B7BBDFF8-51EE-4DE6-8D55-AD6580AEFEEB}" srcId="{E6BBABCF-B4F3-4AF9-8434-9591D077FEA4}" destId="{93588496-DDB1-42F7-B846-773FEE859A69}" srcOrd="0" destOrd="0" parTransId="{49215C61-813C-49AD-8790-8F617AF98E45}" sibTransId="{13338101-0F46-4174-A5A3-AB409713C18F}"/>
    <dgm:cxn modelId="{6F9872FD-F50A-46F1-8061-31F9861D184C}" type="presOf" srcId="{3AE28DCE-3A07-4207-A1E0-9165A8CCD462}" destId="{B1FC7BD9-A9CE-4723-B57B-9D435B587839}" srcOrd="1" destOrd="0" presId="urn:microsoft.com/office/officeart/2005/8/layout/orgChart1"/>
    <dgm:cxn modelId="{FA4034E8-6E76-476B-8AB8-63F98F2C4DD3}" type="presParOf" srcId="{5A8CF5A0-04D6-4202-A427-90CEF02E67DA}" destId="{00A0FADC-4687-47FF-96A4-29342E5DADF0}" srcOrd="0" destOrd="0" presId="urn:microsoft.com/office/officeart/2005/8/layout/orgChart1"/>
    <dgm:cxn modelId="{123C36E6-A392-4C8A-B353-165AE1E3A440}" type="presParOf" srcId="{00A0FADC-4687-47FF-96A4-29342E5DADF0}" destId="{3CF91F0A-6193-4B91-923D-894584D62ECF}" srcOrd="0" destOrd="0" presId="urn:microsoft.com/office/officeart/2005/8/layout/orgChart1"/>
    <dgm:cxn modelId="{0A3694C3-8830-4F52-BCC4-DCF1D4006FF8}" type="presParOf" srcId="{3CF91F0A-6193-4B91-923D-894584D62ECF}" destId="{3F05053A-AD92-4CA9-987A-54503EE74A75}" srcOrd="0" destOrd="0" presId="urn:microsoft.com/office/officeart/2005/8/layout/orgChart1"/>
    <dgm:cxn modelId="{D93E9976-E338-4370-9A01-9BF1C301122C}" type="presParOf" srcId="{3CF91F0A-6193-4B91-923D-894584D62ECF}" destId="{7838C66F-F3A6-4223-B437-57106BAAF667}" srcOrd="1" destOrd="0" presId="urn:microsoft.com/office/officeart/2005/8/layout/orgChart1"/>
    <dgm:cxn modelId="{38FA52BC-B2CA-4FC0-8844-B2BFAA60E220}" type="presParOf" srcId="{00A0FADC-4687-47FF-96A4-29342E5DADF0}" destId="{241B7D12-5DEB-4ED0-AA00-7E32FCBBAB24}" srcOrd="1" destOrd="0" presId="urn:microsoft.com/office/officeart/2005/8/layout/orgChart1"/>
    <dgm:cxn modelId="{84F7C76E-8BBA-4056-AF4A-4110E9178F95}" type="presParOf" srcId="{241B7D12-5DEB-4ED0-AA00-7E32FCBBAB24}" destId="{EBDDD33B-F223-442F-AD4D-758B0D923474}" srcOrd="0" destOrd="0" presId="urn:microsoft.com/office/officeart/2005/8/layout/orgChart1"/>
    <dgm:cxn modelId="{58437B4F-A657-487E-AC02-664DFDABD51F}" type="presParOf" srcId="{241B7D12-5DEB-4ED0-AA00-7E32FCBBAB24}" destId="{0EEC52F1-9E4C-4C2A-8B49-AF13EA9C5AD2}" srcOrd="1" destOrd="0" presId="urn:microsoft.com/office/officeart/2005/8/layout/orgChart1"/>
    <dgm:cxn modelId="{38EE3763-9956-468F-AE66-A8C51AC46F2C}" type="presParOf" srcId="{0EEC52F1-9E4C-4C2A-8B49-AF13EA9C5AD2}" destId="{CE7B9829-7840-4FB5-A0E8-C33C0A141A4E}" srcOrd="0" destOrd="0" presId="urn:microsoft.com/office/officeart/2005/8/layout/orgChart1"/>
    <dgm:cxn modelId="{A90AEF3D-AEE3-4AE2-95EC-2085127E5EE5}" type="presParOf" srcId="{CE7B9829-7840-4FB5-A0E8-C33C0A141A4E}" destId="{4C81A2DE-EFF4-450D-A4F6-26F811063965}" srcOrd="0" destOrd="0" presId="urn:microsoft.com/office/officeart/2005/8/layout/orgChart1"/>
    <dgm:cxn modelId="{DD1F8023-6493-4106-B662-742EFB35B995}" type="presParOf" srcId="{CE7B9829-7840-4FB5-A0E8-C33C0A141A4E}" destId="{FB0F3030-49DA-455A-81AD-319B9E708491}" srcOrd="1" destOrd="0" presId="urn:microsoft.com/office/officeart/2005/8/layout/orgChart1"/>
    <dgm:cxn modelId="{EDDBF612-5016-4149-A25A-BAF6F45D56B9}" type="presParOf" srcId="{0EEC52F1-9E4C-4C2A-8B49-AF13EA9C5AD2}" destId="{1C264070-1D52-41BC-B34E-F88724027269}" srcOrd="1" destOrd="0" presId="urn:microsoft.com/office/officeart/2005/8/layout/orgChart1"/>
    <dgm:cxn modelId="{C2C8C28B-4E12-4B9A-8699-AE3D5433C281}" type="presParOf" srcId="{1C264070-1D52-41BC-B34E-F88724027269}" destId="{83BD8425-4637-470F-AE6B-D0A1E10324CC}" srcOrd="0" destOrd="0" presId="urn:microsoft.com/office/officeart/2005/8/layout/orgChart1"/>
    <dgm:cxn modelId="{0B18D330-B987-4111-A105-9AD077574982}" type="presParOf" srcId="{1C264070-1D52-41BC-B34E-F88724027269}" destId="{7467A8A4-2E7C-4583-BFD8-6A170186A197}" srcOrd="1" destOrd="0" presId="urn:microsoft.com/office/officeart/2005/8/layout/orgChart1"/>
    <dgm:cxn modelId="{B45EBA92-DF89-4B82-9748-B423CBEC3330}" type="presParOf" srcId="{7467A8A4-2E7C-4583-BFD8-6A170186A197}" destId="{0C42E590-695A-4AD6-8450-0D1FA3219A12}" srcOrd="0" destOrd="0" presId="urn:microsoft.com/office/officeart/2005/8/layout/orgChart1"/>
    <dgm:cxn modelId="{A18F5847-0D9E-4163-9149-A90F15142837}" type="presParOf" srcId="{0C42E590-695A-4AD6-8450-0D1FA3219A12}" destId="{89114272-CF0C-48B7-B7BE-64C65636C5F4}" srcOrd="0" destOrd="0" presId="urn:microsoft.com/office/officeart/2005/8/layout/orgChart1"/>
    <dgm:cxn modelId="{911A21BA-307E-4BC0-A18B-5FCCC68CC405}" type="presParOf" srcId="{0C42E590-695A-4AD6-8450-0D1FA3219A12}" destId="{1E4901C0-6F9B-4DA4-87FB-B3A540B72804}" srcOrd="1" destOrd="0" presId="urn:microsoft.com/office/officeart/2005/8/layout/orgChart1"/>
    <dgm:cxn modelId="{40E4825D-5CA1-452D-B4F0-5E359DDA4958}" type="presParOf" srcId="{7467A8A4-2E7C-4583-BFD8-6A170186A197}" destId="{17CDF6B8-89C6-420F-B096-4FFBA3E1568A}" srcOrd="1" destOrd="0" presId="urn:microsoft.com/office/officeart/2005/8/layout/orgChart1"/>
    <dgm:cxn modelId="{7A66FB90-14A2-4607-BEC7-8F93F96EDF20}" type="presParOf" srcId="{7467A8A4-2E7C-4583-BFD8-6A170186A197}" destId="{00E876B2-BD71-4A6A-9068-AFFFBC90BF18}" srcOrd="2" destOrd="0" presId="urn:microsoft.com/office/officeart/2005/8/layout/orgChart1"/>
    <dgm:cxn modelId="{8CEFF771-04F1-47EA-98CF-1559004D9B3F}" type="presParOf" srcId="{0EEC52F1-9E4C-4C2A-8B49-AF13EA9C5AD2}" destId="{5975F904-3033-48F1-BB72-1D28F7523D61}" srcOrd="2" destOrd="0" presId="urn:microsoft.com/office/officeart/2005/8/layout/orgChart1"/>
    <dgm:cxn modelId="{C386CCBC-B749-4B0F-B1F0-2D8F15EA7255}" type="presParOf" srcId="{241B7D12-5DEB-4ED0-AA00-7E32FCBBAB24}" destId="{C6BD306B-5271-4AAB-B0DF-CEFC95E2DEDA}" srcOrd="2" destOrd="0" presId="urn:microsoft.com/office/officeart/2005/8/layout/orgChart1"/>
    <dgm:cxn modelId="{31DC44C5-5DBC-4CD7-BB81-AE3C7B9AE3F2}" type="presParOf" srcId="{241B7D12-5DEB-4ED0-AA00-7E32FCBBAB24}" destId="{FBC5EAAE-5F02-4B58-B0E4-979F5812CF12}" srcOrd="3" destOrd="0" presId="urn:microsoft.com/office/officeart/2005/8/layout/orgChart1"/>
    <dgm:cxn modelId="{E874E01D-35A7-4C43-B5A9-26CCA7DF0A49}" type="presParOf" srcId="{FBC5EAAE-5F02-4B58-B0E4-979F5812CF12}" destId="{38B8C19C-B23E-47C8-A9F1-437D812610A4}" srcOrd="0" destOrd="0" presId="urn:microsoft.com/office/officeart/2005/8/layout/orgChart1"/>
    <dgm:cxn modelId="{E123856B-E25F-4BF8-B47A-22A2F0D8A124}" type="presParOf" srcId="{38B8C19C-B23E-47C8-A9F1-437D812610A4}" destId="{5E847E10-187B-4687-8167-957754E0FCEF}" srcOrd="0" destOrd="0" presId="urn:microsoft.com/office/officeart/2005/8/layout/orgChart1"/>
    <dgm:cxn modelId="{17C0C8CD-338D-4174-8A3D-F1CA6E824059}" type="presParOf" srcId="{38B8C19C-B23E-47C8-A9F1-437D812610A4}" destId="{6686D3FD-FA2D-4FAF-B389-24EBA3D8E154}" srcOrd="1" destOrd="0" presId="urn:microsoft.com/office/officeart/2005/8/layout/orgChart1"/>
    <dgm:cxn modelId="{6B3894F8-C281-4ECC-9FBD-9D531089696D}" type="presParOf" srcId="{FBC5EAAE-5F02-4B58-B0E4-979F5812CF12}" destId="{3FA66724-8B11-45E8-8CCD-6D4F5360B673}" srcOrd="1" destOrd="0" presId="urn:microsoft.com/office/officeart/2005/8/layout/orgChart1"/>
    <dgm:cxn modelId="{F504617C-D5A6-40DB-92AA-9932A17606D8}" type="presParOf" srcId="{3FA66724-8B11-45E8-8CCD-6D4F5360B673}" destId="{D9C17448-03BF-455E-81B4-0E40B4832EF8}" srcOrd="0" destOrd="0" presId="urn:microsoft.com/office/officeart/2005/8/layout/orgChart1"/>
    <dgm:cxn modelId="{99F2BC79-08DE-4DEF-B6AB-2ECC9F8F6093}" type="presParOf" srcId="{3FA66724-8B11-45E8-8CCD-6D4F5360B673}" destId="{3184C39E-A1A1-42C7-AFDB-7DB83B8CFF7D}" srcOrd="1" destOrd="0" presId="urn:microsoft.com/office/officeart/2005/8/layout/orgChart1"/>
    <dgm:cxn modelId="{0DEC5CC8-1922-42CC-8539-8AD16E090094}" type="presParOf" srcId="{3184C39E-A1A1-42C7-AFDB-7DB83B8CFF7D}" destId="{EB40AA69-B1B5-4D3D-8857-CCCB59527800}" srcOrd="0" destOrd="0" presId="urn:microsoft.com/office/officeart/2005/8/layout/orgChart1"/>
    <dgm:cxn modelId="{594F572D-C1A5-4B80-83BD-0D52FDF70164}" type="presParOf" srcId="{EB40AA69-B1B5-4D3D-8857-CCCB59527800}" destId="{E77731A4-8E9B-4D51-BF6F-6DEB0C17C564}" srcOrd="0" destOrd="0" presId="urn:microsoft.com/office/officeart/2005/8/layout/orgChart1"/>
    <dgm:cxn modelId="{E805B62A-8F24-4D22-B3A9-3E487DB0B3BE}" type="presParOf" srcId="{EB40AA69-B1B5-4D3D-8857-CCCB59527800}" destId="{3C9A76A6-45A7-4644-ABDE-46A7039D3E1D}" srcOrd="1" destOrd="0" presId="urn:microsoft.com/office/officeart/2005/8/layout/orgChart1"/>
    <dgm:cxn modelId="{410DBF23-6024-4064-9EB3-97E5225FF220}" type="presParOf" srcId="{3184C39E-A1A1-42C7-AFDB-7DB83B8CFF7D}" destId="{13275034-5D28-4559-9057-7921659348A5}" srcOrd="1" destOrd="0" presId="urn:microsoft.com/office/officeart/2005/8/layout/orgChart1"/>
    <dgm:cxn modelId="{A3997F01-A174-40F8-941F-17DC9E24C93E}" type="presParOf" srcId="{3184C39E-A1A1-42C7-AFDB-7DB83B8CFF7D}" destId="{26F9E366-0D3F-49FE-AF48-2B8B62E24BFA}" srcOrd="2" destOrd="0" presId="urn:microsoft.com/office/officeart/2005/8/layout/orgChart1"/>
    <dgm:cxn modelId="{910C2A3A-833C-4C56-829A-A84B07A44126}" type="presParOf" srcId="{3FA66724-8B11-45E8-8CCD-6D4F5360B673}" destId="{F9AE505A-FCFA-4988-826B-BCAC919006B8}" srcOrd="2" destOrd="0" presId="urn:microsoft.com/office/officeart/2005/8/layout/orgChart1"/>
    <dgm:cxn modelId="{AD11D04C-3279-49A7-BA7E-0101F777B0C5}" type="presParOf" srcId="{3FA66724-8B11-45E8-8CCD-6D4F5360B673}" destId="{30CE1057-7C40-48AA-B18E-85FCF8F2E359}" srcOrd="3" destOrd="0" presId="urn:microsoft.com/office/officeart/2005/8/layout/orgChart1"/>
    <dgm:cxn modelId="{73A2DF61-EAD5-480F-9CC7-9079A92AFBB3}" type="presParOf" srcId="{30CE1057-7C40-48AA-B18E-85FCF8F2E359}" destId="{413A6321-304C-4B62-BCF6-DF9260BF2A40}" srcOrd="0" destOrd="0" presId="urn:microsoft.com/office/officeart/2005/8/layout/orgChart1"/>
    <dgm:cxn modelId="{CAD14B01-BAF8-450C-A0C2-179010DC22FF}" type="presParOf" srcId="{413A6321-304C-4B62-BCF6-DF9260BF2A40}" destId="{EEA1FDCB-6CC4-4975-9EB2-489C034C0DC3}" srcOrd="0" destOrd="0" presId="urn:microsoft.com/office/officeart/2005/8/layout/orgChart1"/>
    <dgm:cxn modelId="{231EBFF8-99FB-4A34-8039-39960F786B53}" type="presParOf" srcId="{413A6321-304C-4B62-BCF6-DF9260BF2A40}" destId="{DE99B90D-550F-461A-872F-4F86D2336F74}" srcOrd="1" destOrd="0" presId="urn:microsoft.com/office/officeart/2005/8/layout/orgChart1"/>
    <dgm:cxn modelId="{F4C67B06-3EAA-4A78-AB88-E1C62510DFB6}" type="presParOf" srcId="{30CE1057-7C40-48AA-B18E-85FCF8F2E359}" destId="{99E4ACB4-6389-47AE-A8A8-D7E8A2BFB34A}" srcOrd="1" destOrd="0" presId="urn:microsoft.com/office/officeart/2005/8/layout/orgChart1"/>
    <dgm:cxn modelId="{F829C0FC-F9E5-47D3-A646-07B349A4BE04}" type="presParOf" srcId="{30CE1057-7C40-48AA-B18E-85FCF8F2E359}" destId="{E465E860-8F43-4A98-AEDE-2E20519F5797}" srcOrd="2" destOrd="0" presId="urn:microsoft.com/office/officeart/2005/8/layout/orgChart1"/>
    <dgm:cxn modelId="{04BB04B0-4F0E-407A-BA79-6016587D26EF}" type="presParOf" srcId="{FBC5EAAE-5F02-4B58-B0E4-979F5812CF12}" destId="{C6AEE328-CDA5-4F5D-9D50-C4ADD78E5875}" srcOrd="2" destOrd="0" presId="urn:microsoft.com/office/officeart/2005/8/layout/orgChart1"/>
    <dgm:cxn modelId="{4AEA7FB3-30E5-4BEC-826E-0DF339DCE5B5}" type="presParOf" srcId="{241B7D12-5DEB-4ED0-AA00-7E32FCBBAB24}" destId="{4C52EE74-0356-4C25-B91F-868520482B2A}" srcOrd="4" destOrd="0" presId="urn:microsoft.com/office/officeart/2005/8/layout/orgChart1"/>
    <dgm:cxn modelId="{2BBDE81B-FBF8-4B9A-BDFB-1D1DEABE2FD7}" type="presParOf" srcId="{241B7D12-5DEB-4ED0-AA00-7E32FCBBAB24}" destId="{7CBA41AE-5E68-4049-A080-F447A2F80C2F}" srcOrd="5" destOrd="0" presId="urn:microsoft.com/office/officeart/2005/8/layout/orgChart1"/>
    <dgm:cxn modelId="{B8B732BD-9DE7-4455-8269-861E6BA0200F}" type="presParOf" srcId="{7CBA41AE-5E68-4049-A080-F447A2F80C2F}" destId="{C21E61F3-7995-4A09-8B56-8342CA5E1892}" srcOrd="0" destOrd="0" presId="urn:microsoft.com/office/officeart/2005/8/layout/orgChart1"/>
    <dgm:cxn modelId="{39850CF7-638A-4EE6-8B8D-0D6C7F174B05}" type="presParOf" srcId="{C21E61F3-7995-4A09-8B56-8342CA5E1892}" destId="{E1DE2E46-16B2-4015-92E2-5DAF1F365AE1}" srcOrd="0" destOrd="0" presId="urn:microsoft.com/office/officeart/2005/8/layout/orgChart1"/>
    <dgm:cxn modelId="{D4664188-545A-4FAB-B165-F33A19D986F8}" type="presParOf" srcId="{C21E61F3-7995-4A09-8B56-8342CA5E1892}" destId="{CF544F1E-427F-4F89-81B4-C335DA1BDC14}" srcOrd="1" destOrd="0" presId="urn:microsoft.com/office/officeart/2005/8/layout/orgChart1"/>
    <dgm:cxn modelId="{F7AC4A23-1FA1-4954-878F-2AA8D24F7A9E}" type="presParOf" srcId="{7CBA41AE-5E68-4049-A080-F447A2F80C2F}" destId="{5652B981-EB5D-46C5-92A1-A8BB64D8C1F1}" srcOrd="1" destOrd="0" presId="urn:microsoft.com/office/officeart/2005/8/layout/orgChart1"/>
    <dgm:cxn modelId="{6012E8F1-0961-43C4-B969-8C03666C489D}" type="presParOf" srcId="{5652B981-EB5D-46C5-92A1-A8BB64D8C1F1}" destId="{1D9AF061-7EBA-4347-A8BC-7261FF4EE0FE}" srcOrd="0" destOrd="0" presId="urn:microsoft.com/office/officeart/2005/8/layout/orgChart1"/>
    <dgm:cxn modelId="{7CBFD6EF-1782-484B-B3E6-3E066375565D}" type="presParOf" srcId="{5652B981-EB5D-46C5-92A1-A8BB64D8C1F1}" destId="{85F13AA4-3D37-4154-BC7D-72F8D99831B4}" srcOrd="1" destOrd="0" presId="urn:microsoft.com/office/officeart/2005/8/layout/orgChart1"/>
    <dgm:cxn modelId="{EB138AC5-586F-41F3-B852-DEF0CFA4F0E4}" type="presParOf" srcId="{85F13AA4-3D37-4154-BC7D-72F8D99831B4}" destId="{1623EADD-D262-4FD5-9B6E-04510306645F}" srcOrd="0" destOrd="0" presId="urn:microsoft.com/office/officeart/2005/8/layout/orgChart1"/>
    <dgm:cxn modelId="{0F9C099E-8055-4F63-8218-F9BE87434128}" type="presParOf" srcId="{1623EADD-D262-4FD5-9B6E-04510306645F}" destId="{89F8D768-3E5D-4B44-8E95-6F9D639FD86D}" srcOrd="0" destOrd="0" presId="urn:microsoft.com/office/officeart/2005/8/layout/orgChart1"/>
    <dgm:cxn modelId="{0ED257B9-460E-4FBC-BCB6-30C9AE2DDE51}" type="presParOf" srcId="{1623EADD-D262-4FD5-9B6E-04510306645F}" destId="{88CAF1A3-1134-4F2C-967E-4444DB8F9293}" srcOrd="1" destOrd="0" presId="urn:microsoft.com/office/officeart/2005/8/layout/orgChart1"/>
    <dgm:cxn modelId="{37A3DA1A-D218-46CC-A55B-9BBA96E412BF}" type="presParOf" srcId="{85F13AA4-3D37-4154-BC7D-72F8D99831B4}" destId="{EF0AE002-61C5-484D-B972-1C4908E6FFA3}" srcOrd="1" destOrd="0" presId="urn:microsoft.com/office/officeart/2005/8/layout/orgChart1"/>
    <dgm:cxn modelId="{C48B76AA-D319-4F51-9897-8315540AD6F2}" type="presParOf" srcId="{85F13AA4-3D37-4154-BC7D-72F8D99831B4}" destId="{1F8B1EC3-7535-4209-B805-3EE4649CA1A5}" srcOrd="2" destOrd="0" presId="urn:microsoft.com/office/officeart/2005/8/layout/orgChart1"/>
    <dgm:cxn modelId="{89796C47-F35C-46F6-A5BB-7854B05B4658}" type="presParOf" srcId="{7CBA41AE-5E68-4049-A080-F447A2F80C2F}" destId="{4913AC4D-5FE5-4281-B2AE-1B72AD14BBB5}" srcOrd="2" destOrd="0" presId="urn:microsoft.com/office/officeart/2005/8/layout/orgChart1"/>
    <dgm:cxn modelId="{958A3F07-AEBA-457D-92F1-AFABE490D5E0}" type="presParOf" srcId="{241B7D12-5DEB-4ED0-AA00-7E32FCBBAB24}" destId="{21E31310-3922-4953-9D33-E4E289D213CC}" srcOrd="6" destOrd="0" presId="urn:microsoft.com/office/officeart/2005/8/layout/orgChart1"/>
    <dgm:cxn modelId="{164AA0DB-71B7-4DD6-A3E2-376BD311A517}" type="presParOf" srcId="{241B7D12-5DEB-4ED0-AA00-7E32FCBBAB24}" destId="{A05C2D35-FBA2-4C8F-8CCC-A3051B469209}" srcOrd="7" destOrd="0" presId="urn:microsoft.com/office/officeart/2005/8/layout/orgChart1"/>
    <dgm:cxn modelId="{CC08BF01-1D88-4A9C-865D-B5EA58258D54}" type="presParOf" srcId="{A05C2D35-FBA2-4C8F-8CCC-A3051B469209}" destId="{014C0811-D70F-4906-B1DF-06BC268166C5}" srcOrd="0" destOrd="0" presId="urn:microsoft.com/office/officeart/2005/8/layout/orgChart1"/>
    <dgm:cxn modelId="{DD28E6D3-C8EB-4D8F-A7DB-B31B76AE1725}" type="presParOf" srcId="{014C0811-D70F-4906-B1DF-06BC268166C5}" destId="{536330F1-3B8A-41C7-8E1D-BE7929ADDB09}" srcOrd="0" destOrd="0" presId="urn:microsoft.com/office/officeart/2005/8/layout/orgChart1"/>
    <dgm:cxn modelId="{5CACF9A9-6380-469B-8BEC-4064C6BDCC9D}" type="presParOf" srcId="{014C0811-D70F-4906-B1DF-06BC268166C5}" destId="{2684DBA3-78C0-4B06-94DD-5DD65A0C2049}" srcOrd="1" destOrd="0" presId="urn:microsoft.com/office/officeart/2005/8/layout/orgChart1"/>
    <dgm:cxn modelId="{63D22ED5-4E7D-47F2-BB93-8C99D0E5FECF}" type="presParOf" srcId="{A05C2D35-FBA2-4C8F-8CCC-A3051B469209}" destId="{5AE0A416-BA3E-4938-9EBA-AC64018ACE8D}" srcOrd="1" destOrd="0" presId="urn:microsoft.com/office/officeart/2005/8/layout/orgChart1"/>
    <dgm:cxn modelId="{9A3CB316-E076-4BEB-B2BB-2F323D9EF76E}" type="presParOf" srcId="{5AE0A416-BA3E-4938-9EBA-AC64018ACE8D}" destId="{D670FBEC-1DF2-430B-8C23-69D8803583D9}" srcOrd="0" destOrd="0" presId="urn:microsoft.com/office/officeart/2005/8/layout/orgChart1"/>
    <dgm:cxn modelId="{9429F34C-4A44-4F2A-9787-E41B602F4F5C}" type="presParOf" srcId="{5AE0A416-BA3E-4938-9EBA-AC64018ACE8D}" destId="{7CB9FD27-FFC9-4C09-876A-B8B092C0F880}" srcOrd="1" destOrd="0" presId="urn:microsoft.com/office/officeart/2005/8/layout/orgChart1"/>
    <dgm:cxn modelId="{FA056C97-7D7D-4A11-84AE-CC9A641289B4}" type="presParOf" srcId="{7CB9FD27-FFC9-4C09-876A-B8B092C0F880}" destId="{38271B57-7727-4A44-A380-9705548766DE}" srcOrd="0" destOrd="0" presId="urn:microsoft.com/office/officeart/2005/8/layout/orgChart1"/>
    <dgm:cxn modelId="{16499AA6-0B1C-4702-81AD-C246BD5C7E54}" type="presParOf" srcId="{38271B57-7727-4A44-A380-9705548766DE}" destId="{7AD35544-DD7B-471E-B1D4-CEB3F191E25C}" srcOrd="0" destOrd="0" presId="urn:microsoft.com/office/officeart/2005/8/layout/orgChart1"/>
    <dgm:cxn modelId="{A1AF0269-B335-4A57-8BB5-7EF92821304E}" type="presParOf" srcId="{38271B57-7727-4A44-A380-9705548766DE}" destId="{4861EDCC-48D0-487A-BC7F-E79CF284AAAC}" srcOrd="1" destOrd="0" presId="urn:microsoft.com/office/officeart/2005/8/layout/orgChart1"/>
    <dgm:cxn modelId="{66AEED04-A541-44BB-994D-96B10FE2C2D8}" type="presParOf" srcId="{7CB9FD27-FFC9-4C09-876A-B8B092C0F880}" destId="{6683CA58-B5D8-4F43-8F52-200DC7A8A10D}" srcOrd="1" destOrd="0" presId="urn:microsoft.com/office/officeart/2005/8/layout/orgChart1"/>
    <dgm:cxn modelId="{1E7FFE21-8FDE-4125-ACC7-EA33C1D115EE}" type="presParOf" srcId="{7CB9FD27-FFC9-4C09-876A-B8B092C0F880}" destId="{2FEFAECF-A411-4492-928E-BEF62CD2C69E}" srcOrd="2" destOrd="0" presId="urn:microsoft.com/office/officeart/2005/8/layout/orgChart1"/>
    <dgm:cxn modelId="{60374CFC-CA67-4DD9-95C2-B80BE7F4B632}" type="presParOf" srcId="{5AE0A416-BA3E-4938-9EBA-AC64018ACE8D}" destId="{08EED2D6-4336-43AD-A15F-46A46AE07788}" srcOrd="2" destOrd="0" presId="urn:microsoft.com/office/officeart/2005/8/layout/orgChart1"/>
    <dgm:cxn modelId="{2E065114-AF4A-4171-BA11-A206CEBA6C9E}" type="presParOf" srcId="{5AE0A416-BA3E-4938-9EBA-AC64018ACE8D}" destId="{AEB100EC-FE48-4E3E-83FD-DE01AB7F0CBB}" srcOrd="3" destOrd="0" presId="urn:microsoft.com/office/officeart/2005/8/layout/orgChart1"/>
    <dgm:cxn modelId="{16547291-B20A-43BE-B29D-3700D808BCB6}" type="presParOf" srcId="{AEB100EC-FE48-4E3E-83FD-DE01AB7F0CBB}" destId="{BCB9D628-1C48-4FB6-9A04-84DA5D7626CB}" srcOrd="0" destOrd="0" presId="urn:microsoft.com/office/officeart/2005/8/layout/orgChart1"/>
    <dgm:cxn modelId="{2152BD56-56D4-4977-835A-4BCCA6D7D6DC}" type="presParOf" srcId="{BCB9D628-1C48-4FB6-9A04-84DA5D7626CB}" destId="{85077965-9386-43A5-AF5F-3094EE9DE711}" srcOrd="0" destOrd="0" presId="urn:microsoft.com/office/officeart/2005/8/layout/orgChart1"/>
    <dgm:cxn modelId="{465919DB-9111-47F9-9624-16AC34CE04C6}" type="presParOf" srcId="{BCB9D628-1C48-4FB6-9A04-84DA5D7626CB}" destId="{7BF152E8-4F48-4FE4-89E2-7E1FC238B2B8}" srcOrd="1" destOrd="0" presId="urn:microsoft.com/office/officeart/2005/8/layout/orgChart1"/>
    <dgm:cxn modelId="{6302E800-54BF-4307-A123-22BF177A9CD3}" type="presParOf" srcId="{AEB100EC-FE48-4E3E-83FD-DE01AB7F0CBB}" destId="{277AF4DA-3E41-4DF8-B70B-AE71A7E1D820}" srcOrd="1" destOrd="0" presId="urn:microsoft.com/office/officeart/2005/8/layout/orgChart1"/>
    <dgm:cxn modelId="{688CBE98-BD6D-4B0A-9A30-CE1B5F28B0DE}" type="presParOf" srcId="{AEB100EC-FE48-4E3E-83FD-DE01AB7F0CBB}" destId="{8AC70140-575C-414A-BC7D-D2B95417AD46}" srcOrd="2" destOrd="0" presId="urn:microsoft.com/office/officeart/2005/8/layout/orgChart1"/>
    <dgm:cxn modelId="{938C9E0E-0E96-4593-A4FD-E34E4F52470F}" type="presParOf" srcId="{A05C2D35-FBA2-4C8F-8CCC-A3051B469209}" destId="{5CEE0DA5-4DB5-4C6D-9D4F-04C8EE236337}" srcOrd="2" destOrd="0" presId="urn:microsoft.com/office/officeart/2005/8/layout/orgChart1"/>
    <dgm:cxn modelId="{8726EB6E-F9B7-4200-BCD6-22C07D24F26B}" type="presParOf" srcId="{241B7D12-5DEB-4ED0-AA00-7E32FCBBAB24}" destId="{572E9595-B62C-4B11-8CC9-533A5F64055C}" srcOrd="8" destOrd="0" presId="urn:microsoft.com/office/officeart/2005/8/layout/orgChart1"/>
    <dgm:cxn modelId="{A562A10F-16F9-4D69-87FA-38536B605B22}" type="presParOf" srcId="{241B7D12-5DEB-4ED0-AA00-7E32FCBBAB24}" destId="{310B115F-B7EE-4882-82B1-443C493F1281}" srcOrd="9" destOrd="0" presId="urn:microsoft.com/office/officeart/2005/8/layout/orgChart1"/>
    <dgm:cxn modelId="{04C44DC9-AFDB-4011-AED4-EA3E321537CE}" type="presParOf" srcId="{310B115F-B7EE-4882-82B1-443C493F1281}" destId="{6B44949C-0511-43A4-8CC2-D6305AA532F2}" srcOrd="0" destOrd="0" presId="urn:microsoft.com/office/officeart/2005/8/layout/orgChart1"/>
    <dgm:cxn modelId="{8B7ECBA4-317B-4682-8C6A-ECE07559511E}" type="presParOf" srcId="{6B44949C-0511-43A4-8CC2-D6305AA532F2}" destId="{D2B68863-E509-42B4-BA2D-4186173895B7}" srcOrd="0" destOrd="0" presId="urn:microsoft.com/office/officeart/2005/8/layout/orgChart1"/>
    <dgm:cxn modelId="{E9638B9E-A886-4687-B9CC-13AE2C27A5BB}" type="presParOf" srcId="{6B44949C-0511-43A4-8CC2-D6305AA532F2}" destId="{B1FC7BD9-A9CE-4723-B57B-9D435B587839}" srcOrd="1" destOrd="0" presId="urn:microsoft.com/office/officeart/2005/8/layout/orgChart1"/>
    <dgm:cxn modelId="{75EE6AF4-7122-4A7A-A4C6-9EB6C1E068E1}" type="presParOf" srcId="{310B115F-B7EE-4882-82B1-443C493F1281}" destId="{76828566-2627-4228-902C-3340B4E90678}" srcOrd="1" destOrd="0" presId="urn:microsoft.com/office/officeart/2005/8/layout/orgChart1"/>
    <dgm:cxn modelId="{F2DB745F-2A01-4159-A8FB-62A14A4274D0}" type="presParOf" srcId="{76828566-2627-4228-902C-3340B4E90678}" destId="{10512857-0B57-4DDB-B454-36099BB08B17}" srcOrd="0" destOrd="0" presId="urn:microsoft.com/office/officeart/2005/8/layout/orgChart1"/>
    <dgm:cxn modelId="{5F64A368-14AC-4A6E-BF93-7F2E5BB1A5EB}" type="presParOf" srcId="{76828566-2627-4228-902C-3340B4E90678}" destId="{F1713120-1E6D-4545-A693-4B0FE2629CD0}" srcOrd="1" destOrd="0" presId="urn:microsoft.com/office/officeart/2005/8/layout/orgChart1"/>
    <dgm:cxn modelId="{A949B185-3874-4DC0-83F4-0F2F5FF85D1E}" type="presParOf" srcId="{F1713120-1E6D-4545-A693-4B0FE2629CD0}" destId="{8917A774-BD13-42E5-9155-6F890B53EF96}" srcOrd="0" destOrd="0" presId="urn:microsoft.com/office/officeart/2005/8/layout/orgChart1"/>
    <dgm:cxn modelId="{55629B7E-71A4-4D70-8047-6ABAB82C3D1B}" type="presParOf" srcId="{8917A774-BD13-42E5-9155-6F890B53EF96}" destId="{6ED6E5A9-3058-4EA2-AB65-F57AED0152C0}" srcOrd="0" destOrd="0" presId="urn:microsoft.com/office/officeart/2005/8/layout/orgChart1"/>
    <dgm:cxn modelId="{B696D782-C3C0-4511-853B-6D31C346F4C6}" type="presParOf" srcId="{8917A774-BD13-42E5-9155-6F890B53EF96}" destId="{E4A715E6-F79A-44A0-BE72-F6EEF2F558BB}" srcOrd="1" destOrd="0" presId="urn:microsoft.com/office/officeart/2005/8/layout/orgChart1"/>
    <dgm:cxn modelId="{3DC0361D-DF29-4E18-8E81-5B1108395BF2}" type="presParOf" srcId="{F1713120-1E6D-4545-A693-4B0FE2629CD0}" destId="{1FA6F06D-B98A-4D62-B1F1-B676987FE881}" srcOrd="1" destOrd="0" presId="urn:microsoft.com/office/officeart/2005/8/layout/orgChart1"/>
    <dgm:cxn modelId="{664951D4-B5B7-4F4C-B8F2-6922E55E737E}" type="presParOf" srcId="{F1713120-1E6D-4545-A693-4B0FE2629CD0}" destId="{755DF595-6B9A-4896-88B1-1F15A05BD976}" srcOrd="2" destOrd="0" presId="urn:microsoft.com/office/officeart/2005/8/layout/orgChart1"/>
    <dgm:cxn modelId="{6E5DD197-A5C0-4960-A50F-FA45433D03D0}" type="presParOf" srcId="{310B115F-B7EE-4882-82B1-443C493F1281}" destId="{28B53702-4EB6-4729-9A0A-7183774587ED}" srcOrd="2" destOrd="0" presId="urn:microsoft.com/office/officeart/2005/8/layout/orgChart1"/>
    <dgm:cxn modelId="{722C4474-FEA9-4582-88DD-3CA0B77B167C}" type="presParOf" srcId="{241B7D12-5DEB-4ED0-AA00-7E32FCBBAB24}" destId="{1CA6E809-E306-4E5E-ABB8-D4C0D0790172}" srcOrd="10" destOrd="0" presId="urn:microsoft.com/office/officeart/2005/8/layout/orgChart1"/>
    <dgm:cxn modelId="{91AD70F3-D564-4274-A5CE-9842081B9F51}" type="presParOf" srcId="{241B7D12-5DEB-4ED0-AA00-7E32FCBBAB24}" destId="{EA83E1AD-EEC6-4C35-80C7-0B3BA25A9C47}" srcOrd="11" destOrd="0" presId="urn:microsoft.com/office/officeart/2005/8/layout/orgChart1"/>
    <dgm:cxn modelId="{647BD31B-9F6A-4EAB-82EA-BC482EBC3ACC}" type="presParOf" srcId="{EA83E1AD-EEC6-4C35-80C7-0B3BA25A9C47}" destId="{E6A4E5C5-C1E2-42FA-9545-3B56C387F1A2}" srcOrd="0" destOrd="0" presId="urn:microsoft.com/office/officeart/2005/8/layout/orgChart1"/>
    <dgm:cxn modelId="{3E9BC731-48C6-426F-B309-B9249876B35D}" type="presParOf" srcId="{E6A4E5C5-C1E2-42FA-9545-3B56C387F1A2}" destId="{882FD136-E806-4591-9F05-7BC9DD076C7E}" srcOrd="0" destOrd="0" presId="urn:microsoft.com/office/officeart/2005/8/layout/orgChart1"/>
    <dgm:cxn modelId="{B0DA6422-A02B-4335-BF86-6E6EF172351F}" type="presParOf" srcId="{E6A4E5C5-C1E2-42FA-9545-3B56C387F1A2}" destId="{1D671BCA-0197-4302-8C01-B83D6263959D}" srcOrd="1" destOrd="0" presId="urn:microsoft.com/office/officeart/2005/8/layout/orgChart1"/>
    <dgm:cxn modelId="{8543CB99-3061-4C19-A088-744F65A3E5FD}" type="presParOf" srcId="{EA83E1AD-EEC6-4C35-80C7-0B3BA25A9C47}" destId="{2C42D41A-DC16-4355-A04A-3218541BB51B}" srcOrd="1" destOrd="0" presId="urn:microsoft.com/office/officeart/2005/8/layout/orgChart1"/>
    <dgm:cxn modelId="{7F0C5D8D-0C30-4505-8738-6F521D27CB99}" type="presParOf" srcId="{2C42D41A-DC16-4355-A04A-3218541BB51B}" destId="{AAB20E82-75D3-4A70-A5F8-7F22D99A618D}" srcOrd="0" destOrd="0" presId="urn:microsoft.com/office/officeart/2005/8/layout/orgChart1"/>
    <dgm:cxn modelId="{72873108-196B-4D8A-9FFE-C09F7F06A64C}" type="presParOf" srcId="{2C42D41A-DC16-4355-A04A-3218541BB51B}" destId="{56166F75-6345-42F6-9F97-622A6AE02C43}" srcOrd="1" destOrd="0" presId="urn:microsoft.com/office/officeart/2005/8/layout/orgChart1"/>
    <dgm:cxn modelId="{E09535EA-2249-4895-B0D1-BD5E54F85124}" type="presParOf" srcId="{56166F75-6345-42F6-9F97-622A6AE02C43}" destId="{6CE94A7E-3191-40FF-B1E1-CC22D6B5238D}" srcOrd="0" destOrd="0" presId="urn:microsoft.com/office/officeart/2005/8/layout/orgChart1"/>
    <dgm:cxn modelId="{5ED4D890-BB68-40A8-AF91-BBF87124B21C}" type="presParOf" srcId="{6CE94A7E-3191-40FF-B1E1-CC22D6B5238D}" destId="{03C867D7-4F26-4BE0-91DC-A6C967091C77}" srcOrd="0" destOrd="0" presId="urn:microsoft.com/office/officeart/2005/8/layout/orgChart1"/>
    <dgm:cxn modelId="{C59915AF-DB19-4EF0-A84C-502642AF7736}" type="presParOf" srcId="{6CE94A7E-3191-40FF-B1E1-CC22D6B5238D}" destId="{D4BDC31F-8C35-4791-BA03-F75BA4A7DFC8}" srcOrd="1" destOrd="0" presId="urn:microsoft.com/office/officeart/2005/8/layout/orgChart1"/>
    <dgm:cxn modelId="{CD8A319F-5634-4442-9690-270A34430E59}" type="presParOf" srcId="{56166F75-6345-42F6-9F97-622A6AE02C43}" destId="{91EBE6E2-73CE-453B-8CF7-278CD6CD2322}" srcOrd="1" destOrd="0" presId="urn:microsoft.com/office/officeart/2005/8/layout/orgChart1"/>
    <dgm:cxn modelId="{17DA37B2-E667-4736-8575-0877849772E9}" type="presParOf" srcId="{56166F75-6345-42F6-9F97-622A6AE02C43}" destId="{6A03FAD6-341D-449C-A87C-B9FD9D7864CB}" srcOrd="2" destOrd="0" presId="urn:microsoft.com/office/officeart/2005/8/layout/orgChart1"/>
    <dgm:cxn modelId="{73C7A17D-4434-4558-9DED-B085ECA14D80}" type="presParOf" srcId="{EA83E1AD-EEC6-4C35-80C7-0B3BA25A9C47}" destId="{DB58EE88-474C-46B2-A197-DF0E3B1C5888}" srcOrd="2" destOrd="0" presId="urn:microsoft.com/office/officeart/2005/8/layout/orgChart1"/>
    <dgm:cxn modelId="{A3176D49-7C2D-4846-85E9-CA29DF345A7D}" type="presParOf" srcId="{00A0FADC-4687-47FF-96A4-29342E5DADF0}" destId="{AFA1FF3F-63F4-4AC3-BA15-C3587C8CFD46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CC9FF93-CDFA-464A-A75F-C45C1317BB84}">
      <dsp:nvSpPr>
        <dsp:cNvPr id="0" name=""/>
        <dsp:cNvSpPr/>
      </dsp:nvSpPr>
      <dsp:spPr>
        <a:xfrm>
          <a:off x="0" y="0"/>
          <a:ext cx="1656314" cy="4060825"/>
        </a:xfrm>
        <a:prstGeom prst="rect">
          <a:avLst/>
        </a:prstGeom>
        <a:solidFill>
          <a:schemeClr val="dk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cs typeface="Segoe UI" panose="020B0502040204020203" pitchFamily="34" charset="0"/>
            </a:rPr>
            <a:t>Wants</a:t>
          </a:r>
          <a:endParaRPr lang="en-US" sz="1600" kern="1200" dirty="0"/>
        </a:p>
      </dsp:txBody>
      <dsp:txXfrm>
        <a:off x="0" y="0"/>
        <a:ext cx="1656314" cy="1218247"/>
      </dsp:txXfrm>
    </dsp:sp>
    <dsp:sp modelId="{103CEA5E-5250-4639-9E00-38A3A72ED0AE}">
      <dsp:nvSpPr>
        <dsp:cNvPr id="0" name=""/>
        <dsp:cNvSpPr/>
      </dsp:nvSpPr>
      <dsp:spPr>
        <a:xfrm>
          <a:off x="166268" y="1218594"/>
          <a:ext cx="1325051" cy="79778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Fast To Enter Things</a:t>
          </a:r>
          <a:endParaRPr lang="en-US" sz="1050" kern="1200" dirty="0"/>
        </a:p>
      </dsp:txBody>
      <dsp:txXfrm>
        <a:off x="166268" y="1218594"/>
        <a:ext cx="1325051" cy="797789"/>
      </dsp:txXfrm>
    </dsp:sp>
    <dsp:sp modelId="{F9442A7B-D862-45EF-AD5E-9A485DD285DC}">
      <dsp:nvSpPr>
        <dsp:cNvPr id="0" name=""/>
        <dsp:cNvSpPr/>
      </dsp:nvSpPr>
      <dsp:spPr>
        <a:xfrm>
          <a:off x="166268" y="2139120"/>
          <a:ext cx="1325051" cy="79778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Share Notes With People</a:t>
          </a:r>
          <a:endParaRPr lang="en-US" sz="1050" kern="1200" dirty="0"/>
        </a:p>
      </dsp:txBody>
      <dsp:txXfrm>
        <a:off x="166268" y="2139120"/>
        <a:ext cx="1325051" cy="797789"/>
      </dsp:txXfrm>
    </dsp:sp>
    <dsp:sp modelId="{115FDD17-3BBD-40F9-A7DF-15CABE7FE409}">
      <dsp:nvSpPr>
        <dsp:cNvPr id="0" name=""/>
        <dsp:cNvSpPr/>
      </dsp:nvSpPr>
      <dsp:spPr>
        <a:xfrm>
          <a:off x="166268" y="3059647"/>
          <a:ext cx="1325051" cy="79778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Single System</a:t>
          </a:r>
          <a:endParaRPr lang="en-US" sz="1050" kern="1200" dirty="0"/>
        </a:p>
      </dsp:txBody>
      <dsp:txXfrm>
        <a:off x="166268" y="3059647"/>
        <a:ext cx="1325051" cy="797789"/>
      </dsp:txXfrm>
    </dsp:sp>
    <dsp:sp modelId="{44F8A94C-ADB8-4FBD-8B5A-EE7E35D75EE7}">
      <dsp:nvSpPr>
        <dsp:cNvPr id="0" name=""/>
        <dsp:cNvSpPr/>
      </dsp:nvSpPr>
      <dsp:spPr>
        <a:xfrm>
          <a:off x="1781175" y="0"/>
          <a:ext cx="1656314" cy="4060825"/>
        </a:xfrm>
        <a:prstGeom prst="rect">
          <a:avLst/>
        </a:prstGeom>
        <a:solidFill>
          <a:schemeClr val="dk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cs typeface="Segoe UI" panose="020B0502040204020203" pitchFamily="34" charset="0"/>
            </a:rPr>
            <a:t>Fears</a:t>
          </a:r>
          <a:endParaRPr lang="en-US" sz="1600" kern="1200" dirty="0"/>
        </a:p>
      </dsp:txBody>
      <dsp:txXfrm>
        <a:off x="1781175" y="0"/>
        <a:ext cx="1656314" cy="1218247"/>
      </dsp:txXfrm>
    </dsp:sp>
    <dsp:sp modelId="{80619A5E-3149-4A6A-8CC9-E452CACC118D}">
      <dsp:nvSpPr>
        <dsp:cNvPr id="0" name=""/>
        <dsp:cNvSpPr/>
      </dsp:nvSpPr>
      <dsp:spPr>
        <a:xfrm>
          <a:off x="1946807" y="1218594"/>
          <a:ext cx="1325051" cy="79778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Losing Things</a:t>
          </a:r>
          <a:endParaRPr lang="en-US" sz="1050" kern="1200" dirty="0"/>
        </a:p>
      </dsp:txBody>
      <dsp:txXfrm>
        <a:off x="1946807" y="1218594"/>
        <a:ext cx="1325051" cy="797789"/>
      </dsp:txXfrm>
    </dsp:sp>
    <dsp:sp modelId="{000CFD3F-5AEB-4803-8AC3-658347500CC2}">
      <dsp:nvSpPr>
        <dsp:cNvPr id="0" name=""/>
        <dsp:cNvSpPr/>
      </dsp:nvSpPr>
      <dsp:spPr>
        <a:xfrm>
          <a:off x="1946807" y="2139120"/>
          <a:ext cx="1325051" cy="79778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Locked Into A System</a:t>
          </a:r>
          <a:endParaRPr lang="en-US" sz="1050" kern="1200" dirty="0"/>
        </a:p>
      </dsp:txBody>
      <dsp:txXfrm>
        <a:off x="1946807" y="2139120"/>
        <a:ext cx="1325051" cy="797789"/>
      </dsp:txXfrm>
    </dsp:sp>
    <dsp:sp modelId="{B141C6B4-22BD-40B9-A028-74CD3F8BBE78}">
      <dsp:nvSpPr>
        <dsp:cNvPr id="0" name=""/>
        <dsp:cNvSpPr/>
      </dsp:nvSpPr>
      <dsp:spPr>
        <a:xfrm>
          <a:off x="1946807" y="3059647"/>
          <a:ext cx="1325051" cy="79778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50" kern="1200" dirty="0">
            <a:solidFill>
              <a:schemeClr val="tx2"/>
            </a:solidFill>
          </a:endParaRPr>
        </a:p>
      </dsp:txBody>
      <dsp:txXfrm>
        <a:off x="1946807" y="3059647"/>
        <a:ext cx="1325051" cy="797789"/>
      </dsp:txXfrm>
    </dsp:sp>
    <dsp:sp modelId="{EF468167-C67C-49C2-839A-C622F06CAB6F}">
      <dsp:nvSpPr>
        <dsp:cNvPr id="0" name=""/>
        <dsp:cNvSpPr/>
      </dsp:nvSpPr>
      <dsp:spPr>
        <a:xfrm>
          <a:off x="3561714" y="0"/>
          <a:ext cx="1656314" cy="4060825"/>
        </a:xfrm>
        <a:prstGeom prst="rect">
          <a:avLst/>
        </a:prstGeom>
        <a:solidFill>
          <a:schemeClr val="dk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cs typeface="Segoe UI" panose="020B0502040204020203" pitchFamily="34" charset="0"/>
            </a:rPr>
            <a:t>Needs</a:t>
          </a:r>
          <a:endParaRPr lang="en-US" sz="1600" kern="1200" dirty="0"/>
        </a:p>
      </dsp:txBody>
      <dsp:txXfrm>
        <a:off x="3561714" y="0"/>
        <a:ext cx="1656314" cy="1218247"/>
      </dsp:txXfrm>
    </dsp:sp>
    <dsp:sp modelId="{827D641A-6E1B-462B-82A1-481C9617923D}">
      <dsp:nvSpPr>
        <dsp:cNvPr id="0" name=""/>
        <dsp:cNvSpPr/>
      </dsp:nvSpPr>
      <dsp:spPr>
        <a:xfrm>
          <a:off x="3727345" y="1218594"/>
          <a:ext cx="1325051" cy="79778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Remember Things</a:t>
          </a:r>
          <a:endParaRPr lang="en-US" sz="1050" kern="1200" dirty="0"/>
        </a:p>
      </dsp:txBody>
      <dsp:txXfrm>
        <a:off x="3727345" y="1218594"/>
        <a:ext cx="1325051" cy="797789"/>
      </dsp:txXfrm>
    </dsp:sp>
    <dsp:sp modelId="{913ED80F-749A-4D6D-9FF6-2B22F5135659}">
      <dsp:nvSpPr>
        <dsp:cNvPr id="0" name=""/>
        <dsp:cNvSpPr/>
      </dsp:nvSpPr>
      <dsp:spPr>
        <a:xfrm>
          <a:off x="3727345" y="2139120"/>
          <a:ext cx="1325051" cy="79778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Write Things Down</a:t>
          </a:r>
          <a:endParaRPr lang="en-US" sz="1050" kern="1200" dirty="0"/>
        </a:p>
      </dsp:txBody>
      <dsp:txXfrm>
        <a:off x="3727345" y="2139120"/>
        <a:ext cx="1325051" cy="797789"/>
      </dsp:txXfrm>
    </dsp:sp>
    <dsp:sp modelId="{DAF08508-6895-4B5B-8F0A-4D58A2121B51}">
      <dsp:nvSpPr>
        <dsp:cNvPr id="0" name=""/>
        <dsp:cNvSpPr/>
      </dsp:nvSpPr>
      <dsp:spPr>
        <a:xfrm>
          <a:off x="3727345" y="3059647"/>
          <a:ext cx="1325051" cy="79778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Save Information</a:t>
          </a:r>
          <a:endParaRPr lang="en-US" sz="1050" kern="1200" dirty="0"/>
        </a:p>
      </dsp:txBody>
      <dsp:txXfrm>
        <a:off x="3727345" y="3059647"/>
        <a:ext cx="1325051" cy="79778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CC9FF93-CDFA-464A-A75F-C45C1317BB84}">
      <dsp:nvSpPr>
        <dsp:cNvPr id="0" name=""/>
        <dsp:cNvSpPr/>
      </dsp:nvSpPr>
      <dsp:spPr>
        <a:xfrm>
          <a:off x="29868" y="0"/>
          <a:ext cx="1685117" cy="4060825"/>
        </a:xfrm>
        <a:prstGeom prst="rect">
          <a:avLst/>
        </a:prstGeom>
        <a:solidFill>
          <a:schemeClr val="dk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cs typeface="Segoe UI" panose="020B0502040204020203" pitchFamily="34" charset="0"/>
            </a:rPr>
            <a:t>Benefits</a:t>
          </a:r>
          <a:endParaRPr lang="en-US" sz="1600" kern="1200" dirty="0"/>
        </a:p>
      </dsp:txBody>
      <dsp:txXfrm>
        <a:off x="29868" y="0"/>
        <a:ext cx="1685117" cy="1218247"/>
      </dsp:txXfrm>
    </dsp:sp>
    <dsp:sp modelId="{103CEA5E-5250-4639-9E00-38A3A72ED0AE}">
      <dsp:nvSpPr>
        <dsp:cNvPr id="0" name=""/>
        <dsp:cNvSpPr/>
      </dsp:nvSpPr>
      <dsp:spPr>
        <a:xfrm>
          <a:off x="169159" y="1218346"/>
          <a:ext cx="1348093" cy="59157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Simple</a:t>
          </a:r>
          <a:endParaRPr lang="en-US" sz="1050" kern="1200" dirty="0"/>
        </a:p>
      </dsp:txBody>
      <dsp:txXfrm>
        <a:off x="169159" y="1218346"/>
        <a:ext cx="1348093" cy="591575"/>
      </dsp:txXfrm>
    </dsp:sp>
    <dsp:sp modelId="{F9442A7B-D862-45EF-AD5E-9A485DD285DC}">
      <dsp:nvSpPr>
        <dsp:cNvPr id="0" name=""/>
        <dsp:cNvSpPr/>
      </dsp:nvSpPr>
      <dsp:spPr>
        <a:xfrm>
          <a:off x="169159" y="1900934"/>
          <a:ext cx="1348093" cy="59157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Easy Syncing</a:t>
          </a:r>
          <a:endParaRPr lang="en-US" sz="1050" kern="1200" dirty="0"/>
        </a:p>
      </dsp:txBody>
      <dsp:txXfrm>
        <a:off x="169159" y="1900934"/>
        <a:ext cx="1348093" cy="591575"/>
      </dsp:txXfrm>
    </dsp:sp>
    <dsp:sp modelId="{115FDD17-3BBD-40F9-A7DF-15CABE7FE409}">
      <dsp:nvSpPr>
        <dsp:cNvPr id="0" name=""/>
        <dsp:cNvSpPr/>
      </dsp:nvSpPr>
      <dsp:spPr>
        <a:xfrm>
          <a:off x="169159" y="2583521"/>
          <a:ext cx="1348093" cy="59157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Fast To Use</a:t>
          </a:r>
          <a:endParaRPr lang="en-US" sz="1050" kern="1200" dirty="0"/>
        </a:p>
      </dsp:txBody>
      <dsp:txXfrm>
        <a:off x="169159" y="2583521"/>
        <a:ext cx="1348093" cy="591575"/>
      </dsp:txXfrm>
    </dsp:sp>
    <dsp:sp modelId="{45A6A965-9598-417E-9FE7-9420FC64036A}">
      <dsp:nvSpPr>
        <dsp:cNvPr id="0" name=""/>
        <dsp:cNvSpPr/>
      </dsp:nvSpPr>
      <dsp:spPr>
        <a:xfrm>
          <a:off x="169159" y="3266108"/>
          <a:ext cx="1348093" cy="59157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/>
            <a:t> </a:t>
          </a:r>
          <a:endParaRPr lang="en-US" sz="1050" kern="1200" dirty="0"/>
        </a:p>
      </dsp:txBody>
      <dsp:txXfrm>
        <a:off x="169159" y="3266108"/>
        <a:ext cx="1348093" cy="591575"/>
      </dsp:txXfrm>
    </dsp:sp>
    <dsp:sp modelId="{44F8A94C-ADB8-4FBD-8B5A-EE7E35D75EE7}">
      <dsp:nvSpPr>
        <dsp:cNvPr id="0" name=""/>
        <dsp:cNvSpPr/>
      </dsp:nvSpPr>
      <dsp:spPr>
        <a:xfrm>
          <a:off x="1812148" y="0"/>
          <a:ext cx="1685117" cy="4060825"/>
        </a:xfrm>
        <a:prstGeom prst="rect">
          <a:avLst/>
        </a:prstGeom>
        <a:solidFill>
          <a:schemeClr val="dk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cs typeface="Segoe UI" panose="020B0502040204020203" pitchFamily="34" charset="0"/>
            </a:rPr>
            <a:t>Experience</a:t>
          </a:r>
          <a:endParaRPr lang="en-US" sz="1600" kern="1200" dirty="0"/>
        </a:p>
      </dsp:txBody>
      <dsp:txXfrm>
        <a:off x="1812148" y="0"/>
        <a:ext cx="1685117" cy="1218247"/>
      </dsp:txXfrm>
    </dsp:sp>
    <dsp:sp modelId="{80619A5E-3149-4A6A-8CC9-E452CACC118D}">
      <dsp:nvSpPr>
        <dsp:cNvPr id="0" name=""/>
        <dsp:cNvSpPr/>
      </dsp:nvSpPr>
      <dsp:spPr>
        <a:xfrm>
          <a:off x="1980660" y="1218346"/>
          <a:ext cx="1348093" cy="59157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Everything Everywhere</a:t>
          </a:r>
          <a:endParaRPr lang="en-US" sz="1050" kern="1200" dirty="0"/>
        </a:p>
      </dsp:txBody>
      <dsp:txXfrm>
        <a:off x="1980660" y="1218346"/>
        <a:ext cx="1348093" cy="591575"/>
      </dsp:txXfrm>
    </dsp:sp>
    <dsp:sp modelId="{000CFD3F-5AEB-4803-8AC3-658347500CC2}">
      <dsp:nvSpPr>
        <dsp:cNvPr id="0" name=""/>
        <dsp:cNvSpPr/>
      </dsp:nvSpPr>
      <dsp:spPr>
        <a:xfrm>
          <a:off x="1980660" y="1900934"/>
          <a:ext cx="1348093" cy="59157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Never Forget</a:t>
          </a:r>
          <a:endParaRPr lang="en-US" sz="1050" kern="1200" dirty="0"/>
        </a:p>
      </dsp:txBody>
      <dsp:txXfrm>
        <a:off x="1980660" y="1900934"/>
        <a:ext cx="1348093" cy="591575"/>
      </dsp:txXfrm>
    </dsp:sp>
    <dsp:sp modelId="{B141C6B4-22BD-40B9-A028-74CD3F8BBE78}">
      <dsp:nvSpPr>
        <dsp:cNvPr id="0" name=""/>
        <dsp:cNvSpPr/>
      </dsp:nvSpPr>
      <dsp:spPr>
        <a:xfrm>
          <a:off x="1980660" y="2583521"/>
          <a:ext cx="1348093" cy="59157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External Brain</a:t>
          </a:r>
          <a:endParaRPr lang="en-US" sz="1050" kern="1200" dirty="0"/>
        </a:p>
      </dsp:txBody>
      <dsp:txXfrm>
        <a:off x="1980660" y="2583521"/>
        <a:ext cx="1348093" cy="591575"/>
      </dsp:txXfrm>
    </dsp:sp>
    <dsp:sp modelId="{3596C622-89ED-46BB-88ED-FCBB6585C138}">
      <dsp:nvSpPr>
        <dsp:cNvPr id="0" name=""/>
        <dsp:cNvSpPr/>
      </dsp:nvSpPr>
      <dsp:spPr>
        <a:xfrm>
          <a:off x="1980660" y="3266108"/>
          <a:ext cx="1348093" cy="59157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Remember Everything</a:t>
          </a:r>
          <a:endParaRPr lang="en-US" sz="1050" kern="1200" dirty="0"/>
        </a:p>
      </dsp:txBody>
      <dsp:txXfrm>
        <a:off x="1980660" y="3266108"/>
        <a:ext cx="1348093" cy="591575"/>
      </dsp:txXfrm>
    </dsp:sp>
    <dsp:sp modelId="{EF468167-C67C-49C2-839A-C622F06CAB6F}">
      <dsp:nvSpPr>
        <dsp:cNvPr id="0" name=""/>
        <dsp:cNvSpPr/>
      </dsp:nvSpPr>
      <dsp:spPr>
        <a:xfrm>
          <a:off x="3623649" y="0"/>
          <a:ext cx="1685117" cy="4060825"/>
        </a:xfrm>
        <a:prstGeom prst="rect">
          <a:avLst/>
        </a:prstGeom>
        <a:solidFill>
          <a:schemeClr val="dk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cs typeface="Segoe UI" panose="020B0502040204020203" pitchFamily="34" charset="0"/>
            </a:rPr>
            <a:t>Features</a:t>
          </a:r>
          <a:endParaRPr lang="en-US" sz="1600" kern="1200" dirty="0"/>
        </a:p>
      </dsp:txBody>
      <dsp:txXfrm>
        <a:off x="3623649" y="0"/>
        <a:ext cx="1685117" cy="1218247"/>
      </dsp:txXfrm>
    </dsp:sp>
    <dsp:sp modelId="{827D641A-6E1B-462B-82A1-481C9617923D}">
      <dsp:nvSpPr>
        <dsp:cNvPr id="0" name=""/>
        <dsp:cNvSpPr/>
      </dsp:nvSpPr>
      <dsp:spPr>
        <a:xfrm>
          <a:off x="3792161" y="1218346"/>
          <a:ext cx="1348093" cy="59157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Sync Across Devices</a:t>
          </a:r>
          <a:endParaRPr lang="en-US" sz="1050" kern="1200" dirty="0"/>
        </a:p>
      </dsp:txBody>
      <dsp:txXfrm>
        <a:off x="3792161" y="1218346"/>
        <a:ext cx="1348093" cy="591575"/>
      </dsp:txXfrm>
    </dsp:sp>
    <dsp:sp modelId="{913ED80F-749A-4D6D-9FF6-2B22F5135659}">
      <dsp:nvSpPr>
        <dsp:cNvPr id="0" name=""/>
        <dsp:cNvSpPr/>
      </dsp:nvSpPr>
      <dsp:spPr>
        <a:xfrm>
          <a:off x="3792161" y="1900934"/>
          <a:ext cx="1348093" cy="59157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Include Images</a:t>
          </a:r>
          <a:endParaRPr lang="en-US" sz="1050" kern="1200" dirty="0"/>
        </a:p>
      </dsp:txBody>
      <dsp:txXfrm>
        <a:off x="3792161" y="1900934"/>
        <a:ext cx="1348093" cy="591575"/>
      </dsp:txXfrm>
    </dsp:sp>
    <dsp:sp modelId="{DAF08508-6895-4B5B-8F0A-4D58A2121B51}">
      <dsp:nvSpPr>
        <dsp:cNvPr id="0" name=""/>
        <dsp:cNvSpPr/>
      </dsp:nvSpPr>
      <dsp:spPr>
        <a:xfrm>
          <a:off x="3792161" y="2583521"/>
          <a:ext cx="1348093" cy="59157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 dirty="0">
              <a:cs typeface="Segoe UI" panose="020B0502040204020203" pitchFamily="34" charset="0"/>
            </a:rPr>
            <a:t>Rich Metadata</a:t>
          </a:r>
          <a:endParaRPr lang="en-US" sz="1050" kern="1200" dirty="0"/>
        </a:p>
      </dsp:txBody>
      <dsp:txXfrm>
        <a:off x="3792161" y="2583521"/>
        <a:ext cx="1348093" cy="591575"/>
      </dsp:txXfrm>
    </dsp:sp>
    <dsp:sp modelId="{FF11490A-0A44-47B2-85BA-9FD1CC063C90}">
      <dsp:nvSpPr>
        <dsp:cNvPr id="0" name=""/>
        <dsp:cNvSpPr/>
      </dsp:nvSpPr>
      <dsp:spPr>
        <a:xfrm>
          <a:off x="3792161" y="3266108"/>
          <a:ext cx="1348093" cy="59157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kern="1200"/>
            <a:t> </a:t>
          </a:r>
          <a:endParaRPr lang="en-US" sz="1050" kern="1200" dirty="0"/>
        </a:p>
      </dsp:txBody>
      <dsp:txXfrm>
        <a:off x="3792161" y="3266108"/>
        <a:ext cx="1348093" cy="59157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AB20E82-75D3-4A70-A5F8-7F22D99A618D}">
      <dsp:nvSpPr>
        <dsp:cNvPr id="0" name=""/>
        <dsp:cNvSpPr/>
      </dsp:nvSpPr>
      <dsp:spPr>
        <a:xfrm>
          <a:off x="8002171" y="2199141"/>
          <a:ext cx="195077" cy="5982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98238"/>
              </a:lnTo>
              <a:lnTo>
                <a:pt x="195077" y="598238"/>
              </a:lnTo>
            </a:path>
          </a:pathLst>
        </a:custGeom>
        <a:noFill/>
        <a:ln w="1079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CA6E809-E306-4E5E-ABB8-D4C0D0790172}">
      <dsp:nvSpPr>
        <dsp:cNvPr id="0" name=""/>
        <dsp:cNvSpPr/>
      </dsp:nvSpPr>
      <dsp:spPr>
        <a:xfrm>
          <a:off x="4588312" y="1275773"/>
          <a:ext cx="3934066" cy="2731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554"/>
              </a:lnTo>
              <a:lnTo>
                <a:pt x="3934066" y="136554"/>
              </a:lnTo>
              <a:lnTo>
                <a:pt x="3934066" y="273108"/>
              </a:lnTo>
            </a:path>
          </a:pathLst>
        </a:custGeom>
        <a:noFill/>
        <a:ln w="1079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512857-0B57-4DDB-B454-36099BB08B17}">
      <dsp:nvSpPr>
        <dsp:cNvPr id="0" name=""/>
        <dsp:cNvSpPr/>
      </dsp:nvSpPr>
      <dsp:spPr>
        <a:xfrm>
          <a:off x="6428544" y="2199141"/>
          <a:ext cx="195077" cy="5982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98238"/>
              </a:lnTo>
              <a:lnTo>
                <a:pt x="195077" y="598238"/>
              </a:lnTo>
            </a:path>
          </a:pathLst>
        </a:custGeom>
        <a:noFill/>
        <a:ln w="1079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72E9595-B62C-4B11-8CC9-533A5F64055C}">
      <dsp:nvSpPr>
        <dsp:cNvPr id="0" name=""/>
        <dsp:cNvSpPr/>
      </dsp:nvSpPr>
      <dsp:spPr>
        <a:xfrm>
          <a:off x="4588312" y="1275773"/>
          <a:ext cx="2360439" cy="2731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554"/>
              </a:lnTo>
              <a:lnTo>
                <a:pt x="2360439" y="136554"/>
              </a:lnTo>
              <a:lnTo>
                <a:pt x="2360439" y="273108"/>
              </a:lnTo>
            </a:path>
          </a:pathLst>
        </a:custGeom>
        <a:noFill/>
        <a:ln w="1079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8EED2D6-4336-43AD-A15F-46A46AE07788}">
      <dsp:nvSpPr>
        <dsp:cNvPr id="0" name=""/>
        <dsp:cNvSpPr/>
      </dsp:nvSpPr>
      <dsp:spPr>
        <a:xfrm>
          <a:off x="4854918" y="2199141"/>
          <a:ext cx="195077" cy="15216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21605"/>
              </a:lnTo>
              <a:lnTo>
                <a:pt x="195077" y="1521605"/>
              </a:lnTo>
            </a:path>
          </a:pathLst>
        </a:custGeom>
        <a:noFill/>
        <a:ln w="1079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670FBEC-1DF2-430B-8C23-69D8803583D9}">
      <dsp:nvSpPr>
        <dsp:cNvPr id="0" name=""/>
        <dsp:cNvSpPr/>
      </dsp:nvSpPr>
      <dsp:spPr>
        <a:xfrm>
          <a:off x="4854918" y="2199141"/>
          <a:ext cx="195077" cy="5982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98238"/>
              </a:lnTo>
              <a:lnTo>
                <a:pt x="195077" y="598238"/>
              </a:lnTo>
            </a:path>
          </a:pathLst>
        </a:custGeom>
        <a:noFill/>
        <a:ln w="1079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E31310-3922-4953-9D33-E4E289D213CC}">
      <dsp:nvSpPr>
        <dsp:cNvPr id="0" name=""/>
        <dsp:cNvSpPr/>
      </dsp:nvSpPr>
      <dsp:spPr>
        <a:xfrm>
          <a:off x="4588312" y="1275773"/>
          <a:ext cx="786813" cy="2731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554"/>
              </a:lnTo>
              <a:lnTo>
                <a:pt x="786813" y="136554"/>
              </a:lnTo>
              <a:lnTo>
                <a:pt x="786813" y="273108"/>
              </a:lnTo>
            </a:path>
          </a:pathLst>
        </a:custGeom>
        <a:noFill/>
        <a:ln w="1079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9AF061-7EBA-4347-A8BC-7261FF4EE0FE}">
      <dsp:nvSpPr>
        <dsp:cNvPr id="0" name=""/>
        <dsp:cNvSpPr/>
      </dsp:nvSpPr>
      <dsp:spPr>
        <a:xfrm>
          <a:off x="3281291" y="2199141"/>
          <a:ext cx="195077" cy="5982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98238"/>
              </a:lnTo>
              <a:lnTo>
                <a:pt x="195077" y="598238"/>
              </a:lnTo>
            </a:path>
          </a:pathLst>
        </a:custGeom>
        <a:noFill/>
        <a:ln w="1079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52EE74-0356-4C25-B91F-868520482B2A}">
      <dsp:nvSpPr>
        <dsp:cNvPr id="0" name=""/>
        <dsp:cNvSpPr/>
      </dsp:nvSpPr>
      <dsp:spPr>
        <a:xfrm>
          <a:off x="3801499" y="1275773"/>
          <a:ext cx="786813" cy="273108"/>
        </a:xfrm>
        <a:custGeom>
          <a:avLst/>
          <a:gdLst/>
          <a:ahLst/>
          <a:cxnLst/>
          <a:rect l="0" t="0" r="0" b="0"/>
          <a:pathLst>
            <a:path>
              <a:moveTo>
                <a:pt x="786813" y="0"/>
              </a:moveTo>
              <a:lnTo>
                <a:pt x="786813" y="136554"/>
              </a:lnTo>
              <a:lnTo>
                <a:pt x="0" y="136554"/>
              </a:lnTo>
              <a:lnTo>
                <a:pt x="0" y="273108"/>
              </a:lnTo>
            </a:path>
          </a:pathLst>
        </a:custGeom>
        <a:noFill/>
        <a:ln w="1079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9AE505A-FCFA-4988-826B-BCAC919006B8}">
      <dsp:nvSpPr>
        <dsp:cNvPr id="0" name=""/>
        <dsp:cNvSpPr/>
      </dsp:nvSpPr>
      <dsp:spPr>
        <a:xfrm>
          <a:off x="1707665" y="2199141"/>
          <a:ext cx="195077" cy="15216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21605"/>
              </a:lnTo>
              <a:lnTo>
                <a:pt x="195077" y="1521605"/>
              </a:lnTo>
            </a:path>
          </a:pathLst>
        </a:custGeom>
        <a:noFill/>
        <a:ln w="1079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9C17448-03BF-455E-81B4-0E40B4832EF8}">
      <dsp:nvSpPr>
        <dsp:cNvPr id="0" name=""/>
        <dsp:cNvSpPr/>
      </dsp:nvSpPr>
      <dsp:spPr>
        <a:xfrm>
          <a:off x="1707665" y="2199141"/>
          <a:ext cx="195077" cy="5982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98238"/>
              </a:lnTo>
              <a:lnTo>
                <a:pt x="195077" y="598238"/>
              </a:lnTo>
            </a:path>
          </a:pathLst>
        </a:custGeom>
        <a:noFill/>
        <a:ln w="1079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BD306B-5271-4AAB-B0DF-CEFC95E2DEDA}">
      <dsp:nvSpPr>
        <dsp:cNvPr id="0" name=""/>
        <dsp:cNvSpPr/>
      </dsp:nvSpPr>
      <dsp:spPr>
        <a:xfrm>
          <a:off x="2227872" y="1275773"/>
          <a:ext cx="2360439" cy="273108"/>
        </a:xfrm>
        <a:custGeom>
          <a:avLst/>
          <a:gdLst/>
          <a:ahLst/>
          <a:cxnLst/>
          <a:rect l="0" t="0" r="0" b="0"/>
          <a:pathLst>
            <a:path>
              <a:moveTo>
                <a:pt x="2360439" y="0"/>
              </a:moveTo>
              <a:lnTo>
                <a:pt x="2360439" y="136554"/>
              </a:lnTo>
              <a:lnTo>
                <a:pt x="0" y="136554"/>
              </a:lnTo>
              <a:lnTo>
                <a:pt x="0" y="273108"/>
              </a:lnTo>
            </a:path>
          </a:pathLst>
        </a:custGeom>
        <a:noFill/>
        <a:ln w="1079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3BD8425-4637-470F-AE6B-D0A1E10324CC}">
      <dsp:nvSpPr>
        <dsp:cNvPr id="0" name=""/>
        <dsp:cNvSpPr/>
      </dsp:nvSpPr>
      <dsp:spPr>
        <a:xfrm>
          <a:off x="134038" y="2199141"/>
          <a:ext cx="195077" cy="5982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98238"/>
              </a:lnTo>
              <a:lnTo>
                <a:pt x="195077" y="598238"/>
              </a:lnTo>
            </a:path>
          </a:pathLst>
        </a:custGeom>
        <a:noFill/>
        <a:ln w="1079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DDD33B-F223-442F-AD4D-758B0D923474}">
      <dsp:nvSpPr>
        <dsp:cNvPr id="0" name=""/>
        <dsp:cNvSpPr/>
      </dsp:nvSpPr>
      <dsp:spPr>
        <a:xfrm>
          <a:off x="654245" y="1275773"/>
          <a:ext cx="3934066" cy="273108"/>
        </a:xfrm>
        <a:custGeom>
          <a:avLst/>
          <a:gdLst/>
          <a:ahLst/>
          <a:cxnLst/>
          <a:rect l="0" t="0" r="0" b="0"/>
          <a:pathLst>
            <a:path>
              <a:moveTo>
                <a:pt x="3934066" y="0"/>
              </a:moveTo>
              <a:lnTo>
                <a:pt x="3934066" y="136554"/>
              </a:lnTo>
              <a:lnTo>
                <a:pt x="0" y="136554"/>
              </a:lnTo>
              <a:lnTo>
                <a:pt x="0" y="273108"/>
              </a:lnTo>
            </a:path>
          </a:pathLst>
        </a:custGeom>
        <a:noFill/>
        <a:ln w="1079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05053A-AD92-4CA9-987A-54503EE74A75}">
      <dsp:nvSpPr>
        <dsp:cNvPr id="0" name=""/>
        <dsp:cNvSpPr/>
      </dsp:nvSpPr>
      <dsp:spPr>
        <a:xfrm>
          <a:off x="2118960" y="625514"/>
          <a:ext cx="4938703" cy="65025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latin typeface="+mj-lt"/>
            </a:rPr>
            <a:t>Имя</a:t>
          </a:r>
          <a:br>
            <a:rPr lang="en-US" sz="1200" kern="1200" dirty="0">
              <a:latin typeface="+mj-lt"/>
            </a:rPr>
          </a:br>
          <a:r>
            <a:rPr lang="ru-RU" sz="1200" b="0" kern="1200" dirty="0"/>
            <a:t>Должность</a:t>
          </a:r>
          <a:endParaRPr lang="en-US" sz="1200" kern="1200" dirty="0"/>
        </a:p>
      </dsp:txBody>
      <dsp:txXfrm>
        <a:off x="2118960" y="625514"/>
        <a:ext cx="4938703" cy="650258"/>
      </dsp:txXfrm>
    </dsp:sp>
    <dsp:sp modelId="{4C81A2DE-EFF4-450D-A4F6-26F811063965}">
      <dsp:nvSpPr>
        <dsp:cNvPr id="0" name=""/>
        <dsp:cNvSpPr/>
      </dsp:nvSpPr>
      <dsp:spPr>
        <a:xfrm>
          <a:off x="3987" y="1548882"/>
          <a:ext cx="1300517" cy="65025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>
              <a:latin typeface="+mj-lt"/>
            </a:rPr>
            <a:t>Имя</a:t>
          </a:r>
          <a:br>
            <a:rPr lang="en-US" sz="1200" kern="1200">
              <a:latin typeface="+mj-lt"/>
            </a:rPr>
          </a:br>
          <a:r>
            <a:rPr lang="ru-RU" sz="1200" b="0" kern="1200"/>
            <a:t>Должность</a:t>
          </a:r>
          <a:endParaRPr lang="en-US" sz="1200" kern="1200" dirty="0"/>
        </a:p>
      </dsp:txBody>
      <dsp:txXfrm>
        <a:off x="3987" y="1548882"/>
        <a:ext cx="1300517" cy="650258"/>
      </dsp:txXfrm>
    </dsp:sp>
    <dsp:sp modelId="{89114272-CF0C-48B7-B7BE-64C65636C5F4}">
      <dsp:nvSpPr>
        <dsp:cNvPr id="0" name=""/>
        <dsp:cNvSpPr/>
      </dsp:nvSpPr>
      <dsp:spPr>
        <a:xfrm>
          <a:off x="329116" y="2472249"/>
          <a:ext cx="1300517" cy="65025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latin typeface="+mj-lt"/>
            </a:rPr>
            <a:t>Имя</a:t>
          </a:r>
          <a:br>
            <a:rPr lang="en-US" sz="1200" kern="1200" dirty="0">
              <a:latin typeface="+mj-lt"/>
            </a:rPr>
          </a:br>
          <a:r>
            <a:rPr lang="ru-RU" sz="1200" b="0" kern="1200" dirty="0"/>
            <a:t>Должность</a:t>
          </a:r>
          <a:endParaRPr lang="en-US" sz="1200" kern="1200" dirty="0"/>
        </a:p>
      </dsp:txBody>
      <dsp:txXfrm>
        <a:off x="329116" y="2472249"/>
        <a:ext cx="1300517" cy="650258"/>
      </dsp:txXfrm>
    </dsp:sp>
    <dsp:sp modelId="{5E847E10-187B-4687-8167-957754E0FCEF}">
      <dsp:nvSpPr>
        <dsp:cNvPr id="0" name=""/>
        <dsp:cNvSpPr/>
      </dsp:nvSpPr>
      <dsp:spPr>
        <a:xfrm>
          <a:off x="1577613" y="1548882"/>
          <a:ext cx="1300517" cy="65025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>
              <a:latin typeface="+mj-lt"/>
            </a:rPr>
            <a:t>Имя</a:t>
          </a:r>
          <a:br>
            <a:rPr lang="en-US" sz="1200" kern="1200">
              <a:latin typeface="+mj-lt"/>
            </a:rPr>
          </a:br>
          <a:r>
            <a:rPr lang="ru-RU" sz="1200" b="0" kern="1200"/>
            <a:t>Должность</a:t>
          </a:r>
          <a:endParaRPr lang="en-US" sz="1200" kern="1200" dirty="0"/>
        </a:p>
      </dsp:txBody>
      <dsp:txXfrm>
        <a:off x="1577613" y="1548882"/>
        <a:ext cx="1300517" cy="650258"/>
      </dsp:txXfrm>
    </dsp:sp>
    <dsp:sp modelId="{E77731A4-8E9B-4D51-BF6F-6DEB0C17C564}">
      <dsp:nvSpPr>
        <dsp:cNvPr id="0" name=""/>
        <dsp:cNvSpPr/>
      </dsp:nvSpPr>
      <dsp:spPr>
        <a:xfrm>
          <a:off x="1902743" y="2472249"/>
          <a:ext cx="1300517" cy="65025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>
              <a:latin typeface="+mj-lt"/>
            </a:rPr>
            <a:t>Имя</a:t>
          </a:r>
          <a:br>
            <a:rPr lang="en-US" sz="1200" kern="1200">
              <a:latin typeface="+mj-lt"/>
            </a:rPr>
          </a:br>
          <a:r>
            <a:rPr lang="ru-RU" sz="1200" b="0" kern="1200"/>
            <a:t>Должность</a:t>
          </a:r>
          <a:endParaRPr lang="en-US" sz="1200" kern="1200" dirty="0"/>
        </a:p>
      </dsp:txBody>
      <dsp:txXfrm>
        <a:off x="1902743" y="2472249"/>
        <a:ext cx="1300517" cy="650258"/>
      </dsp:txXfrm>
    </dsp:sp>
    <dsp:sp modelId="{EEA1FDCB-6CC4-4975-9EB2-489C034C0DC3}">
      <dsp:nvSpPr>
        <dsp:cNvPr id="0" name=""/>
        <dsp:cNvSpPr/>
      </dsp:nvSpPr>
      <dsp:spPr>
        <a:xfrm>
          <a:off x="1902743" y="3395617"/>
          <a:ext cx="1300517" cy="65025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>
              <a:latin typeface="+mj-lt"/>
            </a:rPr>
            <a:t>Имя</a:t>
          </a:r>
          <a:br>
            <a:rPr lang="en-US" sz="1200" kern="1200">
              <a:latin typeface="+mj-lt"/>
            </a:rPr>
          </a:br>
          <a:r>
            <a:rPr lang="ru-RU" sz="1200" b="0" kern="1200"/>
            <a:t>Должность</a:t>
          </a:r>
          <a:endParaRPr lang="en-US" sz="1200" kern="1200" dirty="0"/>
        </a:p>
      </dsp:txBody>
      <dsp:txXfrm>
        <a:off x="1902743" y="3395617"/>
        <a:ext cx="1300517" cy="650258"/>
      </dsp:txXfrm>
    </dsp:sp>
    <dsp:sp modelId="{E1DE2E46-16B2-4015-92E2-5DAF1F365AE1}">
      <dsp:nvSpPr>
        <dsp:cNvPr id="0" name=""/>
        <dsp:cNvSpPr/>
      </dsp:nvSpPr>
      <dsp:spPr>
        <a:xfrm>
          <a:off x="3151240" y="1548882"/>
          <a:ext cx="1300517" cy="65025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>
              <a:latin typeface="+mj-lt"/>
            </a:rPr>
            <a:t>Имя</a:t>
          </a:r>
          <a:br>
            <a:rPr lang="en-US" sz="1200" kern="1200">
              <a:latin typeface="+mj-lt"/>
            </a:rPr>
          </a:br>
          <a:r>
            <a:rPr lang="ru-RU" sz="1200" b="0" kern="1200"/>
            <a:t>Должность</a:t>
          </a:r>
          <a:endParaRPr lang="en-US" sz="1200" kern="1200" dirty="0"/>
        </a:p>
      </dsp:txBody>
      <dsp:txXfrm>
        <a:off x="3151240" y="1548882"/>
        <a:ext cx="1300517" cy="650258"/>
      </dsp:txXfrm>
    </dsp:sp>
    <dsp:sp modelId="{89F8D768-3E5D-4B44-8E95-6F9D639FD86D}">
      <dsp:nvSpPr>
        <dsp:cNvPr id="0" name=""/>
        <dsp:cNvSpPr/>
      </dsp:nvSpPr>
      <dsp:spPr>
        <a:xfrm>
          <a:off x="3476369" y="2472249"/>
          <a:ext cx="1300517" cy="65025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>
              <a:latin typeface="+mj-lt"/>
            </a:rPr>
            <a:t>Имя</a:t>
          </a:r>
          <a:br>
            <a:rPr lang="en-US" sz="1200" kern="1200">
              <a:latin typeface="+mj-lt"/>
            </a:rPr>
          </a:br>
          <a:r>
            <a:rPr lang="ru-RU" sz="1200" b="0" kern="1200"/>
            <a:t>Должность</a:t>
          </a:r>
          <a:endParaRPr lang="en-US" sz="1200" kern="1200" dirty="0"/>
        </a:p>
      </dsp:txBody>
      <dsp:txXfrm>
        <a:off x="3476369" y="2472249"/>
        <a:ext cx="1300517" cy="650258"/>
      </dsp:txXfrm>
    </dsp:sp>
    <dsp:sp modelId="{536330F1-3B8A-41C7-8E1D-BE7929ADDB09}">
      <dsp:nvSpPr>
        <dsp:cNvPr id="0" name=""/>
        <dsp:cNvSpPr/>
      </dsp:nvSpPr>
      <dsp:spPr>
        <a:xfrm>
          <a:off x="4724866" y="1548882"/>
          <a:ext cx="1300517" cy="65025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>
              <a:latin typeface="+mj-lt"/>
            </a:rPr>
            <a:t>Имя</a:t>
          </a:r>
          <a:br>
            <a:rPr lang="en-US" sz="1200" kern="1200">
              <a:latin typeface="+mj-lt"/>
            </a:rPr>
          </a:br>
          <a:r>
            <a:rPr lang="ru-RU" sz="1200" b="0" kern="1200"/>
            <a:t>Должность</a:t>
          </a:r>
          <a:endParaRPr lang="en-US" sz="1200" kern="1200" dirty="0"/>
        </a:p>
      </dsp:txBody>
      <dsp:txXfrm>
        <a:off x="4724866" y="1548882"/>
        <a:ext cx="1300517" cy="650258"/>
      </dsp:txXfrm>
    </dsp:sp>
    <dsp:sp modelId="{7AD35544-DD7B-471E-B1D4-CEB3F191E25C}">
      <dsp:nvSpPr>
        <dsp:cNvPr id="0" name=""/>
        <dsp:cNvSpPr/>
      </dsp:nvSpPr>
      <dsp:spPr>
        <a:xfrm>
          <a:off x="5049996" y="2472249"/>
          <a:ext cx="1300517" cy="65025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>
              <a:latin typeface="+mj-lt"/>
            </a:rPr>
            <a:t>Имя</a:t>
          </a:r>
          <a:br>
            <a:rPr lang="en-US" sz="1200" kern="1200">
              <a:latin typeface="+mj-lt"/>
            </a:rPr>
          </a:br>
          <a:r>
            <a:rPr lang="ru-RU" sz="1200" b="0" kern="1200"/>
            <a:t>Должность</a:t>
          </a:r>
          <a:endParaRPr lang="en-US" sz="1200" kern="1200" dirty="0"/>
        </a:p>
      </dsp:txBody>
      <dsp:txXfrm>
        <a:off x="5049996" y="2472249"/>
        <a:ext cx="1300517" cy="650258"/>
      </dsp:txXfrm>
    </dsp:sp>
    <dsp:sp modelId="{85077965-9386-43A5-AF5F-3094EE9DE711}">
      <dsp:nvSpPr>
        <dsp:cNvPr id="0" name=""/>
        <dsp:cNvSpPr/>
      </dsp:nvSpPr>
      <dsp:spPr>
        <a:xfrm>
          <a:off x="5049996" y="3395617"/>
          <a:ext cx="1300517" cy="65025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>
              <a:latin typeface="+mj-lt"/>
            </a:rPr>
            <a:t>Имя</a:t>
          </a:r>
          <a:br>
            <a:rPr lang="en-US" sz="1200" kern="1200">
              <a:latin typeface="+mj-lt"/>
            </a:rPr>
          </a:br>
          <a:r>
            <a:rPr lang="ru-RU" sz="1200" b="0" kern="1200"/>
            <a:t>Должность</a:t>
          </a:r>
          <a:endParaRPr lang="en-US" sz="1200" kern="1200" dirty="0"/>
        </a:p>
      </dsp:txBody>
      <dsp:txXfrm>
        <a:off x="5049996" y="3395617"/>
        <a:ext cx="1300517" cy="650258"/>
      </dsp:txXfrm>
    </dsp:sp>
    <dsp:sp modelId="{D2B68863-E509-42B4-BA2D-4186173895B7}">
      <dsp:nvSpPr>
        <dsp:cNvPr id="0" name=""/>
        <dsp:cNvSpPr/>
      </dsp:nvSpPr>
      <dsp:spPr>
        <a:xfrm>
          <a:off x="6298493" y="1548882"/>
          <a:ext cx="1300517" cy="65025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>
              <a:latin typeface="+mj-lt"/>
            </a:rPr>
            <a:t>Имя</a:t>
          </a:r>
          <a:br>
            <a:rPr lang="en-US" sz="1200" kern="1200">
              <a:latin typeface="+mj-lt"/>
            </a:rPr>
          </a:br>
          <a:r>
            <a:rPr lang="ru-RU" sz="1200" b="0" kern="1200"/>
            <a:t>Должность</a:t>
          </a:r>
          <a:endParaRPr lang="en-US" sz="1200" kern="1200" dirty="0"/>
        </a:p>
      </dsp:txBody>
      <dsp:txXfrm>
        <a:off x="6298493" y="1548882"/>
        <a:ext cx="1300517" cy="650258"/>
      </dsp:txXfrm>
    </dsp:sp>
    <dsp:sp modelId="{6ED6E5A9-3058-4EA2-AB65-F57AED0152C0}">
      <dsp:nvSpPr>
        <dsp:cNvPr id="0" name=""/>
        <dsp:cNvSpPr/>
      </dsp:nvSpPr>
      <dsp:spPr>
        <a:xfrm>
          <a:off x="6623622" y="2472249"/>
          <a:ext cx="1300517" cy="65025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>
              <a:latin typeface="+mj-lt"/>
            </a:rPr>
            <a:t>Имя</a:t>
          </a:r>
          <a:br>
            <a:rPr lang="en-US" sz="1200" kern="1200">
              <a:latin typeface="+mj-lt"/>
            </a:rPr>
          </a:br>
          <a:r>
            <a:rPr lang="ru-RU" sz="1200" b="0" kern="1200"/>
            <a:t>Должность</a:t>
          </a:r>
          <a:endParaRPr lang="en-US" sz="1200" kern="1200" dirty="0"/>
        </a:p>
      </dsp:txBody>
      <dsp:txXfrm>
        <a:off x="6623622" y="2472249"/>
        <a:ext cx="1300517" cy="650258"/>
      </dsp:txXfrm>
    </dsp:sp>
    <dsp:sp modelId="{882FD136-E806-4591-9F05-7BC9DD076C7E}">
      <dsp:nvSpPr>
        <dsp:cNvPr id="0" name=""/>
        <dsp:cNvSpPr/>
      </dsp:nvSpPr>
      <dsp:spPr>
        <a:xfrm>
          <a:off x="7872119" y="1548882"/>
          <a:ext cx="1300517" cy="65025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>
              <a:latin typeface="+mj-lt"/>
            </a:rPr>
            <a:t>Имя</a:t>
          </a:r>
          <a:br>
            <a:rPr lang="en-US" sz="1200" kern="1200">
              <a:latin typeface="+mj-lt"/>
            </a:rPr>
          </a:br>
          <a:r>
            <a:rPr lang="ru-RU" sz="1200" b="0" kern="1200"/>
            <a:t>Должность</a:t>
          </a:r>
          <a:endParaRPr lang="en-US" sz="1200" kern="1200" dirty="0"/>
        </a:p>
      </dsp:txBody>
      <dsp:txXfrm>
        <a:off x="7872119" y="1548882"/>
        <a:ext cx="1300517" cy="650258"/>
      </dsp:txXfrm>
    </dsp:sp>
    <dsp:sp modelId="{03C867D7-4F26-4BE0-91DC-A6C967091C77}">
      <dsp:nvSpPr>
        <dsp:cNvPr id="0" name=""/>
        <dsp:cNvSpPr/>
      </dsp:nvSpPr>
      <dsp:spPr>
        <a:xfrm>
          <a:off x="8197249" y="2472249"/>
          <a:ext cx="1300517" cy="65025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latin typeface="+mj-lt"/>
            </a:rPr>
            <a:t>Имя</a:t>
          </a:r>
          <a:br>
            <a:rPr lang="en-US" sz="1200" kern="1200" dirty="0">
              <a:latin typeface="+mj-lt"/>
            </a:rPr>
          </a:br>
          <a:r>
            <a:rPr lang="ru-RU" sz="1200" b="0" kern="1200" dirty="0"/>
            <a:t>Должность</a:t>
          </a:r>
          <a:endParaRPr lang="en-US" sz="1200" kern="1200" dirty="0"/>
        </a:p>
      </dsp:txBody>
      <dsp:txXfrm>
        <a:off x="8197249" y="2472249"/>
        <a:ext cx="1300517" cy="6502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4058</cdr:x>
      <cdr:y>0.27742</cdr:y>
    </cdr:from>
    <cdr:to>
      <cdr:x>0.37536</cdr:x>
      <cdr:y>0.31945</cdr:y>
    </cdr:to>
    <cdr:sp macro="" textlink="">
      <cdr:nvSpPr>
        <cdr:cNvPr id="3" name="Oval 2">
          <a:extLst xmlns:a="http://schemas.openxmlformats.org/drawingml/2006/main">
            <a:ext uri="{FF2B5EF4-FFF2-40B4-BE49-F238E27FC236}">
              <a16:creationId xmlns:a16="http://schemas.microsoft.com/office/drawing/2014/main" id="{5A1B88E2-599C-563A-B49E-5457B458095A}"/>
            </a:ext>
          </a:extLst>
        </cdr:cNvPr>
        <cdr:cNvSpPr/>
      </cdr:nvSpPr>
      <cdr:spPr>
        <a:xfrm xmlns:a="http://schemas.openxmlformats.org/drawingml/2006/main">
          <a:off x="1790700" y="1207135"/>
          <a:ext cx="182880" cy="182880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 w="19050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5218</cdr:x>
      <cdr:y>0.45797</cdr:y>
    </cdr:from>
    <cdr:to>
      <cdr:x>0.68696</cdr:x>
      <cdr:y>0.5</cdr:y>
    </cdr:to>
    <cdr:sp macro="" textlink="">
      <cdr:nvSpPr>
        <cdr:cNvPr id="4" name="Oval 3">
          <a:extLst xmlns:a="http://schemas.openxmlformats.org/drawingml/2006/main">
            <a:ext uri="{FF2B5EF4-FFF2-40B4-BE49-F238E27FC236}">
              <a16:creationId xmlns:a16="http://schemas.microsoft.com/office/drawing/2014/main" id="{E402B1AE-2D4E-1B12-CF8C-7812F18E1742}"/>
            </a:ext>
          </a:extLst>
        </cdr:cNvPr>
        <cdr:cNvSpPr/>
      </cdr:nvSpPr>
      <cdr:spPr>
        <a:xfrm xmlns:a="http://schemas.openxmlformats.org/drawingml/2006/main">
          <a:off x="3429007" y="1992782"/>
          <a:ext cx="182866" cy="182887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 w="19050">
          <a:solidFill>
            <a:schemeClr val="accent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26087</cdr:x>
      <cdr:y>0.68387</cdr:y>
    </cdr:from>
    <cdr:to>
      <cdr:x>0.29565</cdr:x>
      <cdr:y>0.7259</cdr:y>
    </cdr:to>
    <cdr:sp macro="" textlink="">
      <cdr:nvSpPr>
        <cdr:cNvPr id="5" name="Oval 4">
          <a:extLst xmlns:a="http://schemas.openxmlformats.org/drawingml/2006/main">
            <a:ext uri="{FF2B5EF4-FFF2-40B4-BE49-F238E27FC236}">
              <a16:creationId xmlns:a16="http://schemas.microsoft.com/office/drawing/2014/main" id="{011BF218-F580-B170-AA3D-89EF401BBCC2}"/>
            </a:ext>
          </a:extLst>
        </cdr:cNvPr>
        <cdr:cNvSpPr/>
      </cdr:nvSpPr>
      <cdr:spPr>
        <a:xfrm xmlns:a="http://schemas.openxmlformats.org/drawingml/2006/main">
          <a:off x="1371600" y="2975769"/>
          <a:ext cx="182880" cy="182880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 w="19050">
          <a:solidFill>
            <a:schemeClr val="accent3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5</cdr:x>
      <cdr:y>0.78176</cdr:y>
    </cdr:from>
    <cdr:to>
      <cdr:x>0.53478</cdr:x>
      <cdr:y>0.82378</cdr:y>
    </cdr:to>
    <cdr:sp macro="" textlink="">
      <cdr:nvSpPr>
        <cdr:cNvPr id="6" name="Oval 5">
          <a:extLst xmlns:a="http://schemas.openxmlformats.org/drawingml/2006/main">
            <a:ext uri="{FF2B5EF4-FFF2-40B4-BE49-F238E27FC236}">
              <a16:creationId xmlns:a16="http://schemas.microsoft.com/office/drawing/2014/main" id="{34816A11-19E8-398B-565A-6A378EB88050}"/>
            </a:ext>
          </a:extLst>
        </cdr:cNvPr>
        <cdr:cNvSpPr/>
      </cdr:nvSpPr>
      <cdr:spPr>
        <a:xfrm xmlns:a="http://schemas.openxmlformats.org/drawingml/2006/main">
          <a:off x="2628900" y="3401695"/>
          <a:ext cx="182866" cy="182843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 w="19050">
          <a:solidFill>
            <a:schemeClr val="accent2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5362</cdr:x>
      <cdr:y>0.23889</cdr:y>
    </cdr:from>
    <cdr:to>
      <cdr:x>0.15362</cdr:x>
      <cdr:y>0.28968</cdr:y>
    </cdr:to>
    <cdr:sp macro="" textlink="">
      <cdr:nvSpPr>
        <cdr:cNvPr id="7" name="TextBox 6">
          <a:extLst xmlns:a="http://schemas.openxmlformats.org/drawingml/2006/main">
            <a:ext uri="{FF2B5EF4-FFF2-40B4-BE49-F238E27FC236}">
              <a16:creationId xmlns:a16="http://schemas.microsoft.com/office/drawing/2014/main" id="{D9E5D45C-A898-C3EF-85B9-A42DF636601A}"/>
            </a:ext>
          </a:extLst>
        </cdr:cNvPr>
        <cdr:cNvSpPr txBox="1"/>
      </cdr:nvSpPr>
      <cdr:spPr>
        <a:xfrm xmlns:a="http://schemas.openxmlformats.org/drawingml/2006/main">
          <a:off x="281940" y="1039495"/>
          <a:ext cx="525780" cy="2209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400" dirty="0">
              <a:solidFill>
                <a:schemeClr val="tx1"/>
              </a:solidFill>
            </a:rPr>
            <a:t>30%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96522</cdr:x>
      <cdr:y>0.29259</cdr:y>
    </cdr:from>
    <cdr:to>
      <cdr:x>1</cdr:x>
      <cdr:y>0.33462</cdr:y>
    </cdr:to>
    <cdr:sp macro="" textlink="">
      <cdr:nvSpPr>
        <cdr:cNvPr id="2" name="Oval 1">
          <a:extLst xmlns:a="http://schemas.openxmlformats.org/drawingml/2006/main">
            <a:ext uri="{FF2B5EF4-FFF2-40B4-BE49-F238E27FC236}">
              <a16:creationId xmlns:a16="http://schemas.microsoft.com/office/drawing/2014/main" id="{81950B55-1D26-83F7-18B5-F7612581EBA1}"/>
            </a:ext>
          </a:extLst>
        </cdr:cNvPr>
        <cdr:cNvSpPr/>
      </cdr:nvSpPr>
      <cdr:spPr>
        <a:xfrm xmlns:a="http://schemas.openxmlformats.org/drawingml/2006/main">
          <a:off x="5125720" y="1273175"/>
          <a:ext cx="182880" cy="182880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 w="19050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5362</cdr:x>
      <cdr:y>0.23889</cdr:y>
    </cdr:from>
    <cdr:to>
      <cdr:x>0.15362</cdr:x>
      <cdr:y>0.28968</cdr:y>
    </cdr:to>
    <cdr:sp macro="" textlink="">
      <cdr:nvSpPr>
        <cdr:cNvPr id="7" name="TextBox 6">
          <a:extLst xmlns:a="http://schemas.openxmlformats.org/drawingml/2006/main">
            <a:ext uri="{FF2B5EF4-FFF2-40B4-BE49-F238E27FC236}">
              <a16:creationId xmlns:a16="http://schemas.microsoft.com/office/drawing/2014/main" id="{D9E5D45C-A898-C3EF-85B9-A42DF636601A}"/>
            </a:ext>
          </a:extLst>
        </cdr:cNvPr>
        <cdr:cNvSpPr txBox="1"/>
      </cdr:nvSpPr>
      <cdr:spPr>
        <a:xfrm xmlns:a="http://schemas.openxmlformats.org/drawingml/2006/main">
          <a:off x="281940" y="1039495"/>
          <a:ext cx="525780" cy="2209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400" dirty="0">
              <a:solidFill>
                <a:schemeClr val="tx1"/>
              </a:solidFill>
            </a:rPr>
            <a:t>30%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3D6640C-F6A0-4351-856B-14836F234E6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C280B7B-2795-4857-B84E-9C600536AE0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120AE1-5DBC-4417-A73B-5F29B67C532C}" type="datetimeFigureOut">
              <a:rPr lang="en-US" smtClean="0">
                <a:latin typeface="Segoe UI" panose="020B0502040204020203" pitchFamily="34" charset="0"/>
              </a:rPr>
              <a:t>6/19/2025</a:t>
            </a:fld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C3ACD6-6E00-4BE1-A684-34A6BD202E3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7F20A5-CEF2-4B11-A0A4-0F4BC0BD647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822411-A9A9-4A09-A341-69C657AB42A1}" type="slidenum">
              <a:rPr lang="en-US" smtClean="0">
                <a:latin typeface="Segoe UI" panose="020B0502040204020203" pitchFamily="34" charset="0"/>
              </a:rPr>
              <a:t>‹#›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58888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anose="020B0502040204020203" pitchFamily="34" charset="0"/>
              </a:defRPr>
            </a:lvl1pPr>
          </a:lstStyle>
          <a:p>
            <a:fld id="{CB16A9CD-5E57-4C86-B862-09CA519924BA}" type="datetimeFigureOut">
              <a:rPr lang="en-US" smtClean="0"/>
              <a:pPr/>
              <a:t>6/19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anose="020B0502040204020203" pitchFamily="34" charset="0"/>
              </a:defRPr>
            </a:lvl1pPr>
          </a:lstStyle>
          <a:p>
            <a:fld id="{9CA004F4-F240-48F9-8AE1-486585C7F0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48810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56914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01316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1352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29093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6431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61421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539324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599985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288574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64829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6731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231758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969991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46802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06662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52367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193119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404924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198523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198492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422430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0649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u="sng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40958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264560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604374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353816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48106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C8E5D6-E240-4AB4-B03F-F45C58F87E6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455540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02928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848561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788318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C8E5D6-E240-4AB4-B03F-F45C58F87E6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185694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25895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5915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66683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3494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D2F9AB-3C90-481E-8C34-4F549BF455D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13688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u="sng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42679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86264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89953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0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0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3693BB4-1E5E-FF48-9377-F1E3729B2D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637116"/>
            <a:ext cx="8157519" cy="1310482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8FB81AB-280F-EB4F-B83C-23443197412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4226719"/>
            <a:ext cx="5897880" cy="21113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Текс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6" name="Рисунок 5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352105E5-68EB-6B40-B8C5-F44D6EC93B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897" t="13332" r="10517" b="13164"/>
          <a:stretch/>
        </p:blipFill>
        <p:spPr>
          <a:xfrm>
            <a:off x="838200" y="419482"/>
            <a:ext cx="2655293" cy="1130349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6BFB985-2DA8-F843-81BC-8DCB591736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0000"/>
          </a:blip>
          <a:srcRect r="50000"/>
          <a:stretch/>
        </p:blipFill>
        <p:spPr>
          <a:xfrm>
            <a:off x="8056428" y="-723469"/>
            <a:ext cx="4135572" cy="8271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4378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 with Captio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842E67-35F4-4EC2-B5B4-6D02111EDAD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34963" y="373297"/>
            <a:ext cx="3564000" cy="5935428"/>
          </a:xfrm>
          <a:solidFill>
            <a:schemeClr val="bg1"/>
          </a:solidFill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6553049D-F1F2-4E3C-B0A3-D2BCB35B18A8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4025075" y="373296"/>
            <a:ext cx="3564000" cy="5935428"/>
          </a:xfrm>
          <a:solidFill>
            <a:schemeClr val="bg1"/>
          </a:solidFill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8C645043-BE6A-4D32-ACA9-AB593DA6BC9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027231" y="1968500"/>
            <a:ext cx="3577934" cy="4340224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Clr>
                <a:schemeClr val="accent2"/>
              </a:buClr>
              <a:buNone/>
              <a:defRPr lang="ru-RU" sz="16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06000" indent="-306000">
              <a:buClr>
                <a:schemeClr val="accent2"/>
              </a:buClr>
              <a:defRPr sz="1600">
                <a:solidFill>
                  <a:srgbClr val="000000"/>
                </a:solidFill>
              </a:defRPr>
            </a:lvl2pPr>
            <a:lvl3pPr marL="306000" indent="-306000">
              <a:defRPr/>
            </a:lvl3pPr>
            <a:lvl4pPr marL="306000" indent="-306000">
              <a:defRPr/>
            </a:lvl4pPr>
            <a:lvl5pPr marL="306000" indent="-306000">
              <a:defRPr/>
            </a:lvl5pPr>
          </a:lstStyle>
          <a:p>
            <a:pPr marL="216000" lvl="0" indent="-21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" panose="05000000000000000000" pitchFamily="2" charset="2"/>
              <a:buChar char="§"/>
            </a:pPr>
            <a:r>
              <a:rPr lang="en-US" noProof="0" dirty="0"/>
              <a:t>Click to edit Master text styles</a:t>
            </a:r>
          </a:p>
          <a:p>
            <a:pPr marL="216000" lvl="1" indent="-21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" panose="05000000000000000000" pitchFamily="2" charset="2"/>
              <a:buChar char="§"/>
            </a:pPr>
            <a:r>
              <a:rPr lang="en-US" noProof="0" dirty="0"/>
              <a:t>Second level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F774681-C06F-2C48-8E32-6252C186CECB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9FA77C-3D43-66A9-F0F2-A4FF3D5D3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2475" y="368300"/>
            <a:ext cx="3484563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25129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>
            <a:extLst>
              <a:ext uri="{FF2B5EF4-FFF2-40B4-BE49-F238E27FC236}">
                <a16:creationId xmlns:a16="http://schemas.microsoft.com/office/drawing/2014/main" id="{C1CAB38D-E4EB-4C0C-8CAA-D9F7955A8669}"/>
              </a:ext>
            </a:extLst>
          </p:cNvPr>
          <p:cNvSpPr/>
          <p:nvPr userDrawn="1"/>
        </p:nvSpPr>
        <p:spPr>
          <a:xfrm>
            <a:off x="4064142" y="0"/>
            <a:ext cx="4063971" cy="6857615"/>
          </a:xfrm>
          <a:custGeom>
            <a:avLst/>
            <a:gdLst/>
            <a:ahLst/>
            <a:cxnLst/>
            <a:rect l="l" t="t" r="r" b="b"/>
            <a:pathLst>
              <a:path w="6701790" h="11308715">
                <a:moveTo>
                  <a:pt x="0" y="11308556"/>
                </a:moveTo>
                <a:lnTo>
                  <a:pt x="6701366" y="11308556"/>
                </a:lnTo>
                <a:lnTo>
                  <a:pt x="6701366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defTabSz="554492"/>
            <a:endParaRPr sz="800">
              <a:solidFill>
                <a:prstClr val="black"/>
              </a:solidFill>
            </a:endParaRP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F11446DA-9BC2-4E46-BE50-0A8D000B48A0}"/>
              </a:ext>
            </a:extLst>
          </p:cNvPr>
          <p:cNvSpPr/>
          <p:nvPr userDrawn="1"/>
        </p:nvSpPr>
        <p:spPr>
          <a:xfrm>
            <a:off x="428" y="0"/>
            <a:ext cx="4063971" cy="6857615"/>
          </a:xfrm>
          <a:custGeom>
            <a:avLst/>
            <a:gdLst/>
            <a:ahLst/>
            <a:cxnLst/>
            <a:rect l="l" t="t" r="r" b="b"/>
            <a:pathLst>
              <a:path w="6701790" h="11308715">
                <a:moveTo>
                  <a:pt x="0" y="11308556"/>
                </a:moveTo>
                <a:lnTo>
                  <a:pt x="6701366" y="11308556"/>
                </a:lnTo>
                <a:lnTo>
                  <a:pt x="6701366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92" dirty="0">
              <a:solidFill>
                <a:prstClr val="black"/>
              </a:solidFill>
              <a:latin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3C6B54D-D1EC-4534-9EEA-C90122E2ED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1973967"/>
            <a:ext cx="3348037" cy="1325563"/>
          </a:xfrm>
        </p:spPr>
        <p:txBody>
          <a:bodyPr>
            <a:noAutofit/>
          </a:bodyPr>
          <a:lstStyle>
            <a:lvl1pPr>
              <a:defRPr lang="ru-RU" sz="2200" kern="1200" dirty="0">
                <a:solidFill>
                  <a:schemeClr val="tx1"/>
                </a:solidFill>
                <a:latin typeface="+mj-lt"/>
                <a:ea typeface="+mn-ea"/>
                <a:cs typeface="Bebas Neue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F04D48FC-2CFC-4249-B534-9759CAE99D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05351" y="342901"/>
            <a:ext cx="3092162" cy="1348488"/>
          </a:xfrm>
        </p:spPr>
        <p:txBody>
          <a:bodyPr>
            <a:noAutofit/>
          </a:bodyPr>
          <a:lstStyle>
            <a:lvl1pPr marL="0" indent="0">
              <a:lnSpc>
                <a:spcPts val="2800"/>
              </a:lnSpc>
              <a:buNone/>
              <a:defRPr lang="en-US" sz="2200" b="1" kern="1200" dirty="0" smtClean="0">
                <a:solidFill>
                  <a:srgbClr val="FFFFFF"/>
                </a:solidFill>
                <a:latin typeface="+mj-lt"/>
                <a:ea typeface="+mn-ea"/>
                <a:cs typeface="Bebas Neue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3FD0E582-8CAA-482A-88EC-3E3E6FAE4C6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10111" y="1973968"/>
            <a:ext cx="3287402" cy="3531390"/>
          </a:xfrm>
        </p:spPr>
        <p:txBody>
          <a:bodyPr>
            <a:noAutofit/>
          </a:bodyPr>
          <a:lstStyle>
            <a:lvl1pPr marL="7701" algn="l" defTabSz="554492" rtl="0" eaLnBrk="1" latinLnBrk="0" hangingPunct="1">
              <a:lnSpc>
                <a:spcPts val="1400"/>
              </a:lnSpc>
              <a:defRPr lang="en-US" sz="1400" kern="1200" spc="-15" dirty="0" smtClean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1pPr>
            <a:lvl2pPr marL="0" indent="0" algn="l" defTabSz="554492" rtl="0" eaLnBrk="1" latinLnBrk="0" hangingPunct="1">
              <a:lnSpc>
                <a:spcPct val="117300"/>
              </a:lnSpc>
              <a:buNone/>
              <a:defRPr lang="en-US" sz="1000" kern="1200" spc="-15" dirty="0" smtClean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2pPr>
            <a:lvl3pPr marL="7701" algn="l" defTabSz="554492" rtl="0" eaLnBrk="1" latinLnBrk="0" hangingPunct="1">
              <a:lnSpc>
                <a:spcPct val="117300"/>
              </a:lnSpc>
              <a:defRPr lang="en-US" sz="1000" kern="1200" spc="-15" dirty="0" smtClean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3pPr>
            <a:lvl4pPr marL="7701" algn="l" defTabSz="554492" rtl="0" eaLnBrk="1" latinLnBrk="0" hangingPunct="1">
              <a:lnSpc>
                <a:spcPct val="117300"/>
              </a:lnSpc>
              <a:defRPr lang="en-US" sz="1000" kern="1200" spc="-15" dirty="0" smtClean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4pPr>
            <a:lvl5pPr marL="7701" algn="l" defTabSz="554492" rtl="0" eaLnBrk="1" latinLnBrk="0" hangingPunct="1">
              <a:lnSpc>
                <a:spcPct val="117300"/>
              </a:lnSpc>
              <a:defRPr lang="ru-RU" sz="1000" kern="1200" spc="-15" dirty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8" name="Text Placeholder 44">
            <a:extLst>
              <a:ext uri="{FF2B5EF4-FFF2-40B4-BE49-F238E27FC236}">
                <a16:creationId xmlns:a16="http://schemas.microsoft.com/office/drawing/2014/main" id="{CCC81417-F26A-4630-819B-3F816581B8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01100" y="342901"/>
            <a:ext cx="2803524" cy="1348488"/>
          </a:xfrm>
        </p:spPr>
        <p:txBody>
          <a:bodyPr>
            <a:noAutofit/>
          </a:bodyPr>
          <a:lstStyle>
            <a:lvl1pPr marL="0" indent="0">
              <a:lnSpc>
                <a:spcPts val="2800"/>
              </a:lnSpc>
              <a:buNone/>
              <a:defRPr lang="en-US" sz="2200" b="1" kern="1200" dirty="0" smtClean="0">
                <a:solidFill>
                  <a:schemeClr val="bg1"/>
                </a:solidFill>
                <a:latin typeface="+mj-lt"/>
                <a:ea typeface="+mn-ea"/>
                <a:cs typeface="Bebas Neue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9" name="Text Placeholder 46">
            <a:extLst>
              <a:ext uri="{FF2B5EF4-FFF2-40B4-BE49-F238E27FC236}">
                <a16:creationId xmlns:a16="http://schemas.microsoft.com/office/drawing/2014/main" id="{7F727A06-F216-44DB-A654-D82D314BADA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572831" y="1973968"/>
            <a:ext cx="3031794" cy="3531390"/>
          </a:xfrm>
        </p:spPr>
        <p:txBody>
          <a:bodyPr>
            <a:noAutofit/>
          </a:bodyPr>
          <a:lstStyle>
            <a:lvl1pPr marL="7701" algn="l" defTabSz="554492" rtl="0" eaLnBrk="1" latinLnBrk="0" hangingPunct="1">
              <a:lnSpc>
                <a:spcPts val="1400"/>
              </a:lnSpc>
              <a:defRPr lang="en-US" sz="1400" kern="1200" spc="-15" dirty="0" smtClean="0">
                <a:solidFill>
                  <a:srgbClr val="000000"/>
                </a:solidFill>
                <a:latin typeface="+mn-lt"/>
                <a:ea typeface="+mn-ea"/>
                <a:cs typeface="Source Sans Pro"/>
              </a:defRPr>
            </a:lvl1pPr>
            <a:lvl2pPr marL="0" indent="0" algn="l" defTabSz="554492" rtl="0" eaLnBrk="1" latinLnBrk="0" hangingPunct="1">
              <a:lnSpc>
                <a:spcPct val="117300"/>
              </a:lnSpc>
              <a:buNone/>
              <a:defRPr lang="en-US" sz="1000" kern="1200" spc="-15" dirty="0" smtClean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2pPr>
            <a:lvl3pPr marL="7701" algn="l" defTabSz="554492" rtl="0" eaLnBrk="1" latinLnBrk="0" hangingPunct="1">
              <a:lnSpc>
                <a:spcPct val="117300"/>
              </a:lnSpc>
              <a:defRPr lang="en-US" sz="1000" kern="1200" spc="-15" dirty="0" smtClean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3pPr>
            <a:lvl4pPr marL="7701" algn="l" defTabSz="554492" rtl="0" eaLnBrk="1" latinLnBrk="0" hangingPunct="1">
              <a:lnSpc>
                <a:spcPct val="117300"/>
              </a:lnSpc>
              <a:defRPr lang="en-US" sz="1000" kern="1200" spc="-15" dirty="0" smtClean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4pPr>
            <a:lvl5pPr marL="7701" algn="l" defTabSz="554492" rtl="0" eaLnBrk="1" latinLnBrk="0" hangingPunct="1">
              <a:lnSpc>
                <a:spcPct val="117300"/>
              </a:lnSpc>
              <a:defRPr lang="ru-RU" sz="1000" kern="1200" spc="-15" dirty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id="{69BCF0FD-60CC-1FD0-660E-1ABFC65DAEC3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501245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7A32B497-FBB2-E918-751E-59E3D31F0511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5070E826-18A4-401E-4B2A-A06795AA14B6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747785" y="2037042"/>
            <a:ext cx="2465568" cy="2037472"/>
          </a:xfrm>
          <a:noFill/>
        </p:spPr>
        <p:txBody>
          <a:bodyPr>
            <a:no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25173374-69BA-5AF8-0779-E9C3DB70EF6E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3493192" y="2037042"/>
            <a:ext cx="2465568" cy="2037472"/>
          </a:xfrm>
          <a:noFill/>
        </p:spPr>
        <p:txBody>
          <a:bodyPr>
            <a:no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0EC21AA2-FD6C-EB71-DA1E-88C5AB56738F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6232471" y="2037042"/>
            <a:ext cx="2465568" cy="2037472"/>
          </a:xfrm>
          <a:noFill/>
        </p:spPr>
        <p:txBody>
          <a:bodyPr>
            <a:no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E354B30F-A821-451D-7728-9A4915AB6B8F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8978611" y="2037042"/>
            <a:ext cx="2465568" cy="2037472"/>
          </a:xfrm>
          <a:noFill/>
        </p:spPr>
        <p:txBody>
          <a:bodyPr>
            <a:no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2548203E-BB18-B96B-CE61-60747C586E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3345" y="1261193"/>
            <a:ext cx="11271280" cy="501320"/>
          </a:xfrm>
        </p:spPr>
        <p:txBody>
          <a:bodyPr>
            <a:noAutofit/>
          </a:bodyPr>
          <a:lstStyle>
            <a:lvl1pPr marL="0" indent="0">
              <a:lnSpc>
                <a:spcPts val="1800"/>
              </a:lnSpc>
              <a:buNone/>
              <a:defRPr lang="en-US" sz="1800" kern="1200" spc="-6" dirty="0" smtClean="0">
                <a:solidFill>
                  <a:schemeClr val="bg1"/>
                </a:solidFill>
                <a:latin typeface="+mn-lt"/>
                <a:ea typeface="+mn-ea"/>
                <a:cs typeface="Source Sans Pro"/>
              </a:defRPr>
            </a:lvl1pPr>
            <a:lvl2pPr marL="457200" indent="0">
              <a:buNone/>
              <a:defRPr lang="en-US" sz="1243" kern="1200" spc="-6" dirty="0" smtClean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2pPr>
            <a:lvl3pPr marL="914400" indent="0">
              <a:buNone/>
              <a:defRPr lang="en-US" sz="1243" kern="1200" spc="-6" dirty="0" smtClean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3pPr>
            <a:lvl4pPr marL="1371600" indent="0">
              <a:buNone/>
              <a:defRPr lang="en-US" sz="1243" kern="1200" spc="-6" dirty="0" smtClean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4pPr>
            <a:lvl5pPr marL="1828800" indent="0">
              <a:buNone/>
              <a:defRPr lang="ru-RU" sz="1243" kern="1200" spc="-6" dirty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23">
            <a:extLst>
              <a:ext uri="{FF2B5EF4-FFF2-40B4-BE49-F238E27FC236}">
                <a16:creationId xmlns:a16="http://schemas.microsoft.com/office/drawing/2014/main" id="{42257BC7-73A7-E1EC-0C2A-BF71EA2558B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51488" y="4084862"/>
            <a:ext cx="2455887" cy="622079"/>
          </a:xfrm>
          <a:solidFill>
            <a:schemeClr val="accent1"/>
          </a:solidFill>
        </p:spPr>
        <p:txBody>
          <a:bodyPr>
            <a:noAutofit/>
          </a:bodyPr>
          <a:lstStyle>
            <a:lvl1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chemeClr val="tx1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5DB469BB-3B6A-8805-8470-A768B133B16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98437" y="4084862"/>
            <a:ext cx="2462748" cy="622079"/>
          </a:xfrm>
          <a:solidFill>
            <a:schemeClr val="accent1"/>
          </a:solidFill>
        </p:spPr>
        <p:txBody>
          <a:bodyPr>
            <a:noAutofit/>
          </a:bodyPr>
          <a:lstStyle>
            <a:lvl1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chemeClr val="tx1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66C79A64-6F60-E96D-D786-B34351A14E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30816" y="4084862"/>
            <a:ext cx="2461827" cy="622079"/>
          </a:xfrm>
          <a:solidFill>
            <a:schemeClr val="accent1"/>
          </a:solidFill>
        </p:spPr>
        <p:txBody>
          <a:bodyPr>
            <a:noAutofit/>
          </a:bodyPr>
          <a:lstStyle>
            <a:lvl1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chemeClr val="tx1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704FECD4-9156-A078-33BF-3291741875D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83856" y="4084862"/>
            <a:ext cx="2465568" cy="622079"/>
          </a:xfrm>
          <a:solidFill>
            <a:schemeClr val="accent1"/>
          </a:solidFill>
        </p:spPr>
        <p:txBody>
          <a:bodyPr>
            <a:noAutofit/>
          </a:bodyPr>
          <a:lstStyle>
            <a:lvl1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chemeClr val="tx1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29DA48E8-125F-0C68-7831-DCBC747C3F1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46244" y="4740966"/>
            <a:ext cx="2461827" cy="325677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0CE6B98-E907-270C-79F6-3EC777D3492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96934" y="4740966"/>
            <a:ext cx="2461827" cy="325677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7B9EC661-5E6F-2F6F-D977-2BB3D557177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30854" y="4740966"/>
            <a:ext cx="2461827" cy="325677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D3F51FF8-9C76-7C4F-A10B-EA8B31DFA7E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989251" y="4740966"/>
            <a:ext cx="2461827" cy="325677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F6D990C6-2D70-9E05-DDB8-ACF2ADA4C10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40923" y="5066643"/>
            <a:ext cx="2463184" cy="1242082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None/>
              <a:defRPr lang="ru-RU" sz="1400" dirty="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35A689-603B-227F-4D7C-C364A4121E5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00677" y="5066643"/>
            <a:ext cx="2463184" cy="1242082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None/>
              <a:defRPr lang="ru-RU" sz="1400" dirty="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494AAAA-11E0-ED15-FD4A-EB0686D73C5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25754" y="5066643"/>
            <a:ext cx="2463184" cy="1242082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None/>
              <a:defRPr lang="ru-RU" sz="1400" dirty="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D587790-2945-807A-A877-91373A1CFAC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89251" y="5066643"/>
            <a:ext cx="2463184" cy="1242082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None/>
              <a:defRPr lang="ru-RU" sz="1400" dirty="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0BB8CBF-BB2C-5733-EA73-0353082B5C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26362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9">
            <a:extLst>
              <a:ext uri="{FF2B5EF4-FFF2-40B4-BE49-F238E27FC236}">
                <a16:creationId xmlns:a16="http://schemas.microsoft.com/office/drawing/2014/main" id="{005C429C-BC3D-3644-A07A-06AE9030B21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97808" y="0"/>
            <a:ext cx="5092292" cy="684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Подзаголовок 2">
            <a:extLst>
              <a:ext uri="{FF2B5EF4-FFF2-40B4-BE49-F238E27FC236}">
                <a16:creationId xmlns:a16="http://schemas.microsoft.com/office/drawing/2014/main" id="{CEEAC0F8-495C-812F-73ED-E15A9754C82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8181" y="1277336"/>
            <a:ext cx="6376944" cy="480969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6" name="Дата 3">
            <a:extLst>
              <a:ext uri="{FF2B5EF4-FFF2-40B4-BE49-F238E27FC236}">
                <a16:creationId xmlns:a16="http://schemas.microsoft.com/office/drawing/2014/main" id="{CF382B41-1AB5-8DE2-EDE0-7E89FCB1E5A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65107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defTabSz="914300">
              <a:defRPr/>
            </a:pPr>
            <a:endParaRPr lang="ru-RU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2CDC88D-E9A4-51A9-F657-0BB820555DD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58799" y="1993695"/>
            <a:ext cx="6156325" cy="325677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873DBB0-73A1-11CE-4BD6-2FCFB23153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8800" y="2435225"/>
            <a:ext cx="6156325" cy="3802063"/>
          </a:xfrm>
        </p:spPr>
        <p:txBody>
          <a:bodyPr>
            <a:noAutofit/>
          </a:bodyPr>
          <a:lstStyle>
            <a:lvl1pPr marL="180975" indent="-180975">
              <a:buClr>
                <a:schemeClr val="bg2"/>
              </a:buClr>
              <a:buFont typeface="+mj-lt"/>
              <a:buAutoNum type="arabicPeriod"/>
              <a:defRPr sz="1400">
                <a:solidFill>
                  <a:srgbClr val="000000"/>
                </a:solidFill>
              </a:defRPr>
            </a:lvl1pPr>
            <a:lvl2pPr marL="714375" indent="-257175">
              <a:buFont typeface="+mj-lt"/>
              <a:buAutoNum type="arabicPeriod"/>
              <a:defRPr sz="1400">
                <a:solidFill>
                  <a:schemeClr val="tx1"/>
                </a:solidFill>
              </a:defRPr>
            </a:lvl2pPr>
            <a:lvl3pPr marL="1257300" indent="-342900">
              <a:buFont typeface="+mj-lt"/>
              <a:buAutoNum type="arabicPeriod"/>
              <a:defRPr sz="1400">
                <a:solidFill>
                  <a:schemeClr val="tx1"/>
                </a:solidFill>
              </a:defRPr>
            </a:lvl3pPr>
            <a:lvl4pPr marL="1714500" indent="-342900">
              <a:buFont typeface="+mj-lt"/>
              <a:buAutoNum type="arabicPeriod"/>
              <a:defRPr sz="1400">
                <a:solidFill>
                  <a:schemeClr val="tx1"/>
                </a:solidFill>
              </a:defRPr>
            </a:lvl4pPr>
            <a:lvl5pPr marL="2171700" indent="-342900">
              <a:buFont typeface="+mj-lt"/>
              <a:buAutoNum type="arabicPeriod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ru-RU" dirty="0"/>
          </a:p>
          <a:p>
            <a:pPr lvl="0"/>
            <a:r>
              <a:rPr lang="ru-RU" dirty="0"/>
              <a:t> </a:t>
            </a:r>
            <a:endParaRPr lang="en-US" dirty="0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172BD743-D67C-1D70-7780-D083CED6C96D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E923FDE-8D8A-4ED0-8360-8A2CC42F9A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368300"/>
            <a:ext cx="6376944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7829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итата и картинка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97808" y="0"/>
            <a:ext cx="5092292" cy="684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buClr>
                <a:schemeClr val="bg2"/>
              </a:buClr>
              <a:defRPr/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7445" y="1284689"/>
            <a:ext cx="6380163" cy="78289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558800" y="1877954"/>
            <a:ext cx="501197" cy="7055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000" b="1" i="0" u="none" strike="noStrike" kern="1200" cap="none" spc="0" normalizeH="0" baseline="0" noProof="0" dirty="0">
                <a:ln>
                  <a:noFill/>
                </a:ln>
                <a:solidFill>
                  <a:srgbClr val="0D3074">
                    <a:alpha val="2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«</a:t>
            </a:r>
          </a:p>
        </p:txBody>
      </p:sp>
      <p:sp>
        <p:nvSpPr>
          <p:cNvPr id="9" name="Подзаголовок 2">
            <a:extLst>
              <a:ext uri="{FF2B5EF4-FFF2-40B4-BE49-F238E27FC236}">
                <a16:creationId xmlns:a16="http://schemas.microsoft.com/office/drawing/2014/main" id="{F167E5EA-F396-A041-9ACD-AE03A72C2CDB}"/>
              </a:ext>
            </a:extLst>
          </p:cNvPr>
          <p:cNvSpPr txBox="1">
            <a:spLocks/>
          </p:cNvSpPr>
          <p:nvPr userDrawn="1"/>
        </p:nvSpPr>
        <p:spPr>
          <a:xfrm>
            <a:off x="6384633" y="4790416"/>
            <a:ext cx="501197" cy="7055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000" b="1" i="0" u="none" strike="noStrike" kern="1200" cap="none" spc="0" normalizeH="0" baseline="0" noProof="0" dirty="0">
                <a:ln>
                  <a:noFill/>
                </a:ln>
                <a:solidFill>
                  <a:srgbClr val="0D3074">
                    <a:alpha val="2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»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0BEEA01-F171-34FA-7B88-18D2E56A35A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1283" y="2393611"/>
            <a:ext cx="6143842" cy="2648846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>
                <a:solidFill>
                  <a:srgbClr val="000000"/>
                </a:solidFill>
                <a:latin typeface="+mn-lt"/>
                <a:cs typeface="Segoe UI Semilight" panose="020B0402040204020203" pitchFamily="34" charset="0"/>
              </a:defRPr>
            </a:lvl1pPr>
            <a:lvl2pPr marL="457200" indent="0">
              <a:buFontTx/>
              <a:buNone/>
              <a:defRPr sz="20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 marL="914400" indent="0">
              <a:buFontTx/>
              <a:buNone/>
              <a:defRPr sz="20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  <a:lvl4pPr marL="1371600" indent="0">
              <a:buFontTx/>
              <a:buNone/>
              <a:defRPr sz="20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4pPr>
            <a:lvl5pPr marL="1828800" indent="0">
              <a:buFontTx/>
              <a:buNone/>
              <a:defRPr sz="20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Duis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irure</a:t>
            </a:r>
            <a:r>
              <a:rPr lang="en-US" dirty="0"/>
              <a:t> dolor in </a:t>
            </a:r>
            <a:r>
              <a:rPr lang="en-US" dirty="0" err="1"/>
              <a:t>reprehenderit</a:t>
            </a:r>
            <a:r>
              <a:rPr lang="en-US" dirty="0"/>
              <a:t> in </a:t>
            </a:r>
            <a:r>
              <a:rPr lang="en-US" dirty="0" err="1"/>
              <a:t>volup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illum</a:t>
            </a:r>
            <a:r>
              <a:rPr lang="en-US" dirty="0"/>
              <a:t> dolor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ugiat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pariatur</a:t>
            </a:r>
            <a:r>
              <a:rPr lang="en-US" dirty="0"/>
              <a:t>. </a:t>
            </a:r>
            <a:r>
              <a:rPr lang="en-US" dirty="0" err="1"/>
              <a:t>Excepteur</a:t>
            </a:r>
            <a:r>
              <a:rPr lang="en-US" dirty="0"/>
              <a:t> </a:t>
            </a:r>
            <a:r>
              <a:rPr lang="en-US" dirty="0" err="1"/>
              <a:t>sint</a:t>
            </a:r>
            <a:r>
              <a:rPr lang="en-US" dirty="0"/>
              <a:t> </a:t>
            </a:r>
            <a:r>
              <a:rPr lang="en-US" dirty="0" err="1"/>
              <a:t>occaecat</a:t>
            </a:r>
            <a:r>
              <a:rPr lang="en-US" dirty="0"/>
              <a:t> </a:t>
            </a:r>
            <a:r>
              <a:rPr lang="en-US" dirty="0" err="1"/>
              <a:t>cupidatat</a:t>
            </a:r>
            <a:r>
              <a:rPr lang="en-US" dirty="0"/>
              <a:t> non </a:t>
            </a:r>
            <a:r>
              <a:rPr lang="en-US" dirty="0" err="1"/>
              <a:t>proident</a:t>
            </a:r>
            <a:r>
              <a:rPr lang="en-US" dirty="0"/>
              <a:t>, sunt in culpa qui </a:t>
            </a:r>
            <a:r>
              <a:rPr lang="en-US" dirty="0" err="1"/>
              <a:t>officia</a:t>
            </a:r>
            <a:r>
              <a:rPr lang="en-US" dirty="0"/>
              <a:t> </a:t>
            </a:r>
            <a:r>
              <a:rPr lang="en-US" dirty="0" err="1"/>
              <a:t>deserunt</a:t>
            </a:r>
            <a:r>
              <a:rPr lang="en-US" dirty="0"/>
              <a:t> </a:t>
            </a:r>
            <a:r>
              <a:rPr lang="en-US" dirty="0" err="1"/>
              <a:t>mollit</a:t>
            </a:r>
            <a:r>
              <a:rPr lang="en-US" dirty="0"/>
              <a:t> </a:t>
            </a:r>
            <a:r>
              <a:rPr lang="en-US" dirty="0" err="1"/>
              <a:t>anim</a:t>
            </a:r>
            <a:r>
              <a:rPr lang="en-US" dirty="0"/>
              <a:t> id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laborum</a:t>
            </a:r>
            <a:r>
              <a:rPr lang="en-US" dirty="0"/>
              <a:t>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C972050-43A3-73E3-9070-79FBA993145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1500" y="5597526"/>
            <a:ext cx="3841750" cy="317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77608A0A-71E5-749D-8E58-710C24E0241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799" y="5915027"/>
            <a:ext cx="6156325" cy="39369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A32573B9-CDFD-73E7-F005-7E151CA44B4B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lvl="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1FE471A-41E5-7028-401A-02A6F7AE4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6408737" cy="898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90463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525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  <p15:guide id="6" pos="182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и картинка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97808" y="0"/>
            <a:ext cx="5092292" cy="684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/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1314" y="1277041"/>
            <a:ext cx="6378921" cy="480969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9" name="Дата 3">
            <a:extLst>
              <a:ext uri="{FF2B5EF4-FFF2-40B4-BE49-F238E27FC236}">
                <a16:creationId xmlns:a16="http://schemas.microsoft.com/office/drawing/2014/main" id="{F462AA42-FD60-8040-831C-46FE2D7814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63865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defTabSz="914300">
              <a:defRPr/>
            </a:pPr>
            <a:endParaRPr lang="ru-RU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913CA2B-6CF7-B2B3-7C9A-CC5A5B9AE9C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3910" y="2432582"/>
            <a:ext cx="6149974" cy="3110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400" b="0" i="0" kern="1200" dirty="0" smtClean="0">
                <a:solidFill>
                  <a:srgbClr val="000000"/>
                </a:solidFill>
                <a:latin typeface="+mn-lt"/>
                <a:ea typeface="+mn-ea"/>
                <a:cs typeface="Segoe UI Semilight" panose="020B0402040204020203" pitchFamily="34" charset="0"/>
              </a:defRPr>
            </a:lvl1pPr>
            <a:lvl2pPr marL="742950" indent="-285750">
              <a:buClr>
                <a:schemeClr val="tx1"/>
              </a:buClr>
              <a:buFont typeface="Courier New" panose="02070309020205020404" pitchFamily="49" charset="0"/>
              <a:buChar char="o"/>
              <a:defRPr sz="14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>
              <a:buClr>
                <a:schemeClr val="accent4"/>
              </a:buClr>
              <a:defRPr sz="14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  <a:lvl4pPr>
              <a:defRPr sz="14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4pPr>
            <a:lvl5pPr>
              <a:defRPr sz="14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8000"/>
              <a:buFontTx/>
              <a:buBlip>
                <a:blip r:embed="rId2"/>
              </a:buBlip>
              <a:tabLst/>
              <a:defRPr/>
            </a:pPr>
            <a:r>
              <a:rPr lang="ru-RU" dirty="0"/>
              <a:t>Текст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8000"/>
              <a:buFontTx/>
              <a:buBlip>
                <a:blip r:embed="rId2"/>
              </a:buBlip>
              <a:tabLst/>
              <a:defRPr/>
            </a:pPr>
            <a:r>
              <a:rPr lang="ru-RU" dirty="0"/>
              <a:t>Текст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8000"/>
              <a:buFontTx/>
              <a:buBlip>
                <a:blip r:embed="rId2"/>
              </a:buBlip>
              <a:tabLst/>
              <a:defRPr/>
            </a:pPr>
            <a:r>
              <a:rPr lang="ru-RU" dirty="0"/>
              <a:t>Текст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8000"/>
              <a:buFontTx/>
              <a:buBlip>
                <a:blip r:embed="rId2"/>
              </a:buBlip>
              <a:tabLst/>
              <a:defRPr/>
            </a:pPr>
            <a:r>
              <a:rPr lang="ru-RU" dirty="0"/>
              <a:t>Текст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8000"/>
              <a:buFontTx/>
              <a:buBlip>
                <a:blip r:embed="rId2"/>
              </a:buBlip>
              <a:tabLst/>
              <a:defRPr/>
            </a:pPr>
            <a:r>
              <a:rPr lang="ru-RU" dirty="0"/>
              <a:t>Текст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8000"/>
              <a:buFontTx/>
              <a:buBlip>
                <a:blip r:embed="rId2"/>
              </a:buBlip>
              <a:tabLst/>
              <a:defRPr/>
            </a:pPr>
            <a:r>
              <a:rPr lang="ru-RU" dirty="0"/>
              <a:t>Текст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8000"/>
              <a:buFontTx/>
              <a:buBlip>
                <a:blip r:embed="rId2"/>
              </a:buBlip>
              <a:tabLst/>
              <a:defRPr/>
            </a:pPr>
            <a:r>
              <a:rPr lang="ru-RU" dirty="0"/>
              <a:t>Текст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8000"/>
              <a:buFontTx/>
              <a:buBlip>
                <a:blip r:embed="rId2"/>
              </a:buBlip>
              <a:tabLst/>
              <a:defRPr/>
            </a:pPr>
            <a:r>
              <a:rPr lang="ru-RU" dirty="0"/>
              <a:t>Текст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8000"/>
              <a:buFontTx/>
              <a:buBlip>
                <a:blip r:embed="rId2"/>
              </a:buBlip>
              <a:tabLst/>
              <a:defRPr/>
            </a:pPr>
            <a:r>
              <a:rPr lang="ru-RU" dirty="0"/>
              <a:t>Текст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9F396F2-F658-AC19-9862-FC7E3E4EB7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63" y="1914008"/>
            <a:ext cx="5948709" cy="40005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FontTx/>
              <a:buNone/>
              <a:defRPr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Заголовок 2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981DC595-36FA-2AC3-8C37-EAF7FEEFA949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lvl="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F2F6341-DE1C-8F2E-DFB4-0FFB91BCA4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6378921" cy="898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06899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525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умерованный список и картинка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97808" y="0"/>
            <a:ext cx="5092292" cy="684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1279107"/>
            <a:ext cx="6415045" cy="480969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9" name="Дата 3">
            <a:extLst>
              <a:ext uri="{FF2B5EF4-FFF2-40B4-BE49-F238E27FC236}">
                <a16:creationId xmlns:a16="http://schemas.microsoft.com/office/drawing/2014/main" id="{A885DB63-E653-2E4D-9AA2-CFE662BF4F3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77BC8B-FA17-72EE-45C6-9A905EDAED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429" y="2157413"/>
            <a:ext cx="6148959" cy="40005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FontTx/>
              <a:buNone/>
              <a:defRPr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Заголовок 2</a:t>
            </a:r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3892234C-46D2-F949-839E-D345CF073E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0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Школа Летово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  |   </a:t>
            </a:r>
            <a:fld id="{3FF7ECCA-52A6-EE4C-AA7E-82FCFCDACFE6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pPr marL="0" marR="0" lvl="0" indent="0" algn="r" defTabSz="9143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7785B16-E470-AD22-EE92-F0460E9AD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6408737" cy="898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78119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2525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умерованный список и картинка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97808" y="0"/>
            <a:ext cx="5092292" cy="684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1279107"/>
            <a:ext cx="6415045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587374" y="2110180"/>
            <a:ext cx="6156326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Заголовок 2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605E0600-3D2A-DD43-89F1-7B25870F7A82}"/>
              </a:ext>
            </a:extLst>
          </p:cNvPr>
          <p:cNvSpPr txBox="1">
            <a:spLocks/>
          </p:cNvSpPr>
          <p:nvPr userDrawn="1"/>
        </p:nvSpPr>
        <p:spPr>
          <a:xfrm>
            <a:off x="587374" y="2435856"/>
            <a:ext cx="6156326" cy="34478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</p:txBody>
      </p:sp>
      <p:sp>
        <p:nvSpPr>
          <p:cNvPr id="9" name="Дата 3">
            <a:extLst>
              <a:ext uri="{FF2B5EF4-FFF2-40B4-BE49-F238E27FC236}">
                <a16:creationId xmlns:a16="http://schemas.microsoft.com/office/drawing/2014/main" id="{DDDA4022-DC61-FD42-AA3A-C1EA9CBD8C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1AE07565-90D1-2343-ADF4-804C5C4CB2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0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Школа Летово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  |   </a:t>
            </a:r>
            <a:fld id="{3FF7ECCA-52A6-EE4C-AA7E-82FCFCDACFE6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pPr marL="0" marR="0" lvl="0" indent="0" algn="r" defTabSz="9143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793AC2E-93C3-7536-A929-DCED57503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6408737" cy="898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04676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2525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умерованный список и картинка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97808" y="0"/>
            <a:ext cx="5092292" cy="684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/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1279107"/>
            <a:ext cx="6415045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587374" y="2110180"/>
            <a:ext cx="6156326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Заголовок 2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605E0600-3D2A-DD43-89F1-7B25870F7A82}"/>
              </a:ext>
            </a:extLst>
          </p:cNvPr>
          <p:cNvSpPr txBox="1">
            <a:spLocks/>
          </p:cNvSpPr>
          <p:nvPr userDrawn="1"/>
        </p:nvSpPr>
        <p:spPr>
          <a:xfrm>
            <a:off x="587374" y="2435856"/>
            <a:ext cx="6156326" cy="34478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90900" marR="0" lvl="0" indent="-234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кст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9" name="Дата 3">
            <a:extLst>
              <a:ext uri="{FF2B5EF4-FFF2-40B4-BE49-F238E27FC236}">
                <a16:creationId xmlns:a16="http://schemas.microsoft.com/office/drawing/2014/main" id="{AAF5F732-9ED0-7546-AD85-6771D867304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46246385-CE2F-7C47-813B-96A69BBBA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0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Школа 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Летово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  |   </a:t>
            </a:r>
            <a:fld id="{3FF7ECCA-52A6-EE4C-AA7E-82FCFCDACFE6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pPr marL="0" marR="0" lvl="0" indent="0" algn="r" defTabSz="9143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1FFEAF0-011E-B355-BD36-50491EF98D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6408737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30454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2525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картинка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0100" cy="684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3462" y="1269582"/>
            <a:ext cx="6416546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01CCF3B5-5CED-837B-AC89-12D561EB52C1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lvl="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0217917-9A4A-72E3-3C6F-7093786E26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6415045" cy="898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82892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2525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3693BB4-1E5E-FF48-9377-F1E3729B2D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637116"/>
            <a:ext cx="8157519" cy="1310482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6" name="Рисунок 5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352105E5-68EB-6B40-B8C5-F44D6EC93B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897" t="13332" r="10517" b="13164"/>
          <a:stretch/>
        </p:blipFill>
        <p:spPr>
          <a:xfrm>
            <a:off x="838200" y="419482"/>
            <a:ext cx="2655293" cy="1130349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6BFB985-2DA8-F843-81BC-8DCB591736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0000"/>
          </a:blip>
          <a:srcRect r="50000"/>
          <a:stretch/>
        </p:blipFill>
        <p:spPr>
          <a:xfrm>
            <a:off x="8056428" y="-723469"/>
            <a:ext cx="4135572" cy="8271144"/>
          </a:xfrm>
          <a:prstGeom prst="rect">
            <a:avLst/>
          </a:prstGeom>
        </p:spPr>
      </p:pic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999D85DB-6C9B-A05D-0E9E-51A0F97123F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38200" y="4152900"/>
            <a:ext cx="7410450" cy="2155825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309201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ртинка и текст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0"/>
            <a:ext cx="6743700" cy="684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067552" y="1289650"/>
            <a:ext cx="4757866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AC222974-D488-D7B5-6E84-B615FD83448F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lvl="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DC5895-B808-FA63-DDBA-C617FCDB25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67550" y="368300"/>
            <a:ext cx="4760913" cy="898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837788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525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ртинка и текст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0"/>
            <a:ext cx="6743700" cy="684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067552" y="1279107"/>
            <a:ext cx="4757866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7067549" y="2110180"/>
            <a:ext cx="6156326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Заголовок 2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605E0600-3D2A-DD43-89F1-7B25870F7A82}"/>
              </a:ext>
            </a:extLst>
          </p:cNvPr>
          <p:cNvSpPr txBox="1">
            <a:spLocks/>
          </p:cNvSpPr>
          <p:nvPr userDrawn="1"/>
        </p:nvSpPr>
        <p:spPr>
          <a:xfrm>
            <a:off x="7067550" y="2435856"/>
            <a:ext cx="4757868" cy="34478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U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ni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ad minim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enia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quis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nostru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xercitatio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llamco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is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nisi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ip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x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mmodo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qu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Duis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ut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ru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dolor i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reprehender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i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oluptat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ss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illu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dolore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u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fugi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null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paria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xcepte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si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occaec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upidat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no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proide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unt in culpa qui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offici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deser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mol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ni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id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s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um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</a:t>
            </a:r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862329EF-BFBD-8445-80F3-573D87A43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0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Школа Летово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  |   </a:t>
            </a:r>
            <a:fld id="{3FF7ECCA-52A6-EE4C-AA7E-82FCFCDACFE6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pPr marL="0" marR="0" lvl="0" indent="0" algn="r" defTabSz="9143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4E16E6C-3FB1-4DA3-A95E-3EDA8BA8C9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67549" y="368300"/>
            <a:ext cx="4846639" cy="898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77138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2" userDrawn="1">
          <p15:clr>
            <a:srgbClr val="FBAE40"/>
          </p15:clr>
        </p15:guide>
        <p15:guide id="2" pos="2525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ртинка и текст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0"/>
            <a:ext cx="6743700" cy="684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067552" y="1279107"/>
            <a:ext cx="4757866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6D47234D-6C73-A7DE-86AF-49EFA46621BA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C778CB6-95B2-6826-75A3-06BB94FC48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67550" y="368300"/>
            <a:ext cx="4789488" cy="8985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618292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userDrawn="1">
          <p15:clr>
            <a:srgbClr val="FBAE40"/>
          </p15:clr>
        </p15:guide>
        <p15:guide id="2" pos="2525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ртинка и текст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0"/>
            <a:ext cx="6743700" cy="684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067552" y="1279107"/>
            <a:ext cx="4757866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7067549" y="2110180"/>
            <a:ext cx="6156326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Заголовок 2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605E0600-3D2A-DD43-89F1-7B25870F7A82}"/>
              </a:ext>
            </a:extLst>
          </p:cNvPr>
          <p:cNvSpPr txBox="1">
            <a:spLocks/>
          </p:cNvSpPr>
          <p:nvPr userDrawn="1"/>
        </p:nvSpPr>
        <p:spPr>
          <a:xfrm>
            <a:off x="7067550" y="2435856"/>
            <a:ext cx="4757868" cy="34478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U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ni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ad minim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enia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quis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nostru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xercitatio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llamco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is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nisi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ip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x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mmodo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qu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Duis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ut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ru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dolor i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reprehender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i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oluptat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ss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illu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dolore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u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fugi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null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paria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xcepte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si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occaec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upidat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no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proide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unt in culpa qui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offici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deser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mol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ni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id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s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um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</a:t>
            </a:r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3FB148B0-B0B1-EE46-A91D-B8C9CDE95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Школа Летово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  |   </a:t>
            </a:r>
            <a:fld id="{3FF7ECCA-52A6-EE4C-AA7E-82FCFCDACFE6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pPr marL="0" marR="0" lvl="0" indent="0" algn="r" defTabSz="9143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5925CC4-27B1-DE78-24F0-348C821A79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67549" y="368300"/>
            <a:ext cx="4789489" cy="8985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4495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70">
          <p15:clr>
            <a:srgbClr val="FBAE40"/>
          </p15:clr>
        </p15:guide>
        <p15:guide id="2" pos="2525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ft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F262E62-E8FA-42DE-BC7E-BA73A13FCBF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7537685" cy="6858000"/>
          </a:xfrm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2939FABB-D58D-4DAF-878D-EB51A2AA620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955459" y="1657350"/>
            <a:ext cx="3649166" cy="426243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 lang="ru-RU" sz="16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06000" indent="-306000">
              <a:lnSpc>
                <a:spcPts val="1600"/>
              </a:lnSpc>
              <a:defRPr sz="1600">
                <a:solidFill>
                  <a:srgbClr val="000000"/>
                </a:solidFill>
              </a:defRPr>
            </a:lvl2pPr>
            <a:lvl3pPr marL="306000" indent="-306000">
              <a:defRPr/>
            </a:lvl3pPr>
            <a:lvl4pPr marL="306000" indent="-306000">
              <a:defRPr/>
            </a:lvl4pPr>
            <a:lvl5pPr marL="306000" indent="-306000">
              <a:defRPr/>
            </a:lvl5pPr>
          </a:lstStyle>
          <a:p>
            <a:pPr marL="216000" lvl="0" indent="-21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" panose="05000000000000000000" pitchFamily="2" charset="2"/>
              <a:buChar char="§"/>
            </a:pPr>
            <a:r>
              <a:rPr lang="en-US" noProof="0" dirty="0"/>
              <a:t>Click to edit Master text styles</a:t>
            </a:r>
          </a:p>
          <a:p>
            <a:pPr marL="216000" lvl="1" indent="-21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" panose="05000000000000000000" pitchFamily="2" charset="2"/>
              <a:buChar char="§"/>
            </a:pPr>
            <a:r>
              <a:rPr lang="en-US" noProof="0" dirty="0"/>
              <a:t>Second level</a:t>
            </a:r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63AFD87B-B49B-3543-6008-4D3A69C8E825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035AE9F-3FC8-911D-4FE2-4317E8616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7872" y="368300"/>
            <a:ext cx="3649166" cy="8985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565690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FB0071-932D-4CA0-92FB-A6E75AC855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C8D9F5-8B70-4BDD-9CB5-BBF87CF5535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0864" y="1600200"/>
            <a:ext cx="4221162" cy="4268788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92363BF6-E672-2F30-CFF2-7F0E703D3E11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BF2099D-5AD1-4DE5-57E0-1F47609FE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4437063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691293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картинки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9">
            <a:extLst>
              <a:ext uri="{FF2B5EF4-FFF2-40B4-BE49-F238E27FC236}">
                <a16:creationId xmlns:a16="http://schemas.microsoft.com/office/drawing/2014/main" id="{6C78D4F5-C858-164C-B57C-9B101425847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097808" y="3543300"/>
            <a:ext cx="5092292" cy="33147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7525" y="1275763"/>
            <a:ext cx="6035813" cy="73159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97808" y="0"/>
            <a:ext cx="5092292" cy="33147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2" name="Дата 3">
            <a:extLst>
              <a:ext uri="{FF2B5EF4-FFF2-40B4-BE49-F238E27FC236}">
                <a16:creationId xmlns:a16="http://schemas.microsoft.com/office/drawing/2014/main" id="{50C6F767-418F-0740-9207-CFADEC6934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615001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defTabSz="914300">
              <a:defRPr/>
            </a:pPr>
            <a:endParaRPr lang="ru-RU" dirty="0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06DDDA88-B47E-B30D-CB23-FF4FBE98C756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lvl="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D2FB929-A17F-C3E5-CD40-C060C18732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6048375" cy="898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32506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4021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картинка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исунок 9">
            <a:extLst>
              <a:ext uri="{FF2B5EF4-FFF2-40B4-BE49-F238E27FC236}">
                <a16:creationId xmlns:a16="http://schemas.microsoft.com/office/drawing/2014/main" id="{087E6159-B7B1-C049-99B3-6304F6BDBE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97808" y="0"/>
            <a:ext cx="5092292" cy="6858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7525" y="1273715"/>
            <a:ext cx="6035813" cy="631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9" name="Дата 3">
            <a:extLst>
              <a:ext uri="{FF2B5EF4-FFF2-40B4-BE49-F238E27FC236}">
                <a16:creationId xmlns:a16="http://schemas.microsoft.com/office/drawing/2014/main" id="{E3D2B8AF-3822-6042-8CCA-25543E65087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defTabSz="914300">
              <a:defRPr/>
            </a:pPr>
            <a:endParaRPr lang="ru-RU" dirty="0"/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87D43FBE-D679-BDB8-CC5A-F60EEC82E91D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lvl="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4FF0D77-5FA1-CA86-4BE8-9DA8542BD0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6035813" cy="898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27744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4021">
          <p15:clr>
            <a:srgbClr val="FBAE40"/>
          </p15:clr>
        </p15:guide>
        <p15:guide id="3" pos="4248">
          <p15:clr>
            <a:srgbClr val="FBAE40"/>
          </p15:clr>
        </p15:guide>
        <p15:guide id="5" pos="445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9">
            <a:extLst>
              <a:ext uri="{FF2B5EF4-FFF2-40B4-BE49-F238E27FC236}">
                <a16:creationId xmlns:a16="http://schemas.microsoft.com/office/drawing/2014/main" id="{0E25729C-8969-481B-158B-017578BDF0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3" y="1254125"/>
            <a:ext cx="3463139" cy="20574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ru-RU" dirty="0"/>
          </a:p>
        </p:txBody>
      </p:sp>
      <p:sp>
        <p:nvSpPr>
          <p:cNvPr id="4" name="Рисунок 9">
            <a:extLst>
              <a:ext uri="{FF2B5EF4-FFF2-40B4-BE49-F238E27FC236}">
                <a16:creationId xmlns:a16="http://schemas.microsoft.com/office/drawing/2014/main" id="{F1CB77E0-B3CB-B481-F077-39FC9712DBE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74184" y="1254125"/>
            <a:ext cx="3420000" cy="20574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ru-RU" dirty="0"/>
          </a:p>
        </p:txBody>
      </p:sp>
      <p:sp>
        <p:nvSpPr>
          <p:cNvPr id="5" name="Рисунок 9">
            <a:extLst>
              <a:ext uri="{FF2B5EF4-FFF2-40B4-BE49-F238E27FC236}">
                <a16:creationId xmlns:a16="http://schemas.microsoft.com/office/drawing/2014/main" id="{5792BD4C-DB2A-129B-8B31-61EF422A729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85813" y="1254125"/>
            <a:ext cx="3420000" cy="20574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ru-RU" dirty="0"/>
          </a:p>
        </p:txBody>
      </p:sp>
      <p:sp>
        <p:nvSpPr>
          <p:cNvPr id="6" name="Рисунок 9">
            <a:extLst>
              <a:ext uri="{FF2B5EF4-FFF2-40B4-BE49-F238E27FC236}">
                <a16:creationId xmlns:a16="http://schemas.microsoft.com/office/drawing/2014/main" id="{E6A6B191-C169-029C-CE87-CDA36909684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50862" y="3810000"/>
            <a:ext cx="3463139" cy="20574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ru-RU" dirty="0"/>
          </a:p>
        </p:txBody>
      </p:sp>
      <p:sp>
        <p:nvSpPr>
          <p:cNvPr id="7" name="Рисунок 9">
            <a:extLst>
              <a:ext uri="{FF2B5EF4-FFF2-40B4-BE49-F238E27FC236}">
                <a16:creationId xmlns:a16="http://schemas.microsoft.com/office/drawing/2014/main" id="{946D3CE9-3710-8C9D-C0BA-05781881D69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74184" y="3810000"/>
            <a:ext cx="3420000" cy="20574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ru-RU" dirty="0"/>
          </a:p>
        </p:txBody>
      </p:sp>
      <p:sp>
        <p:nvSpPr>
          <p:cNvPr id="8" name="Рисунок 9">
            <a:extLst>
              <a:ext uri="{FF2B5EF4-FFF2-40B4-BE49-F238E27FC236}">
                <a16:creationId xmlns:a16="http://schemas.microsoft.com/office/drawing/2014/main" id="{D8E313ED-8740-2B80-40DF-DE8F66309DA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85813" y="3810000"/>
            <a:ext cx="3420000" cy="20574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endParaRPr lang="ru-RU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98FA25E-E6C9-D6D1-76FE-62A4A967C6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50863" y="3398838"/>
            <a:ext cx="3463138" cy="32567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DDB9F54C-633B-2B80-E5D1-03D1B38FC4E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67213" y="3386811"/>
            <a:ext cx="3426967" cy="32567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1F5453B-5B7D-DDFC-5FEC-A2AB68D6E50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77384" y="3394074"/>
            <a:ext cx="3426967" cy="32567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1434FA4-09E4-F743-AC98-5BD4E7B281E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66165" y="5956687"/>
            <a:ext cx="3463139" cy="32567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A0BF332-23B3-88CD-D497-A9511560B21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82516" y="5944660"/>
            <a:ext cx="3426967" cy="32567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BD8F27C-CCE6-7437-95BE-95825F11C86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92687" y="5951923"/>
            <a:ext cx="3426967" cy="32567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5" name="Номер слайда 5">
            <a:extLst>
              <a:ext uri="{FF2B5EF4-FFF2-40B4-BE49-F238E27FC236}">
                <a16:creationId xmlns:a16="http://schemas.microsoft.com/office/drawing/2014/main" id="{FEF02677-5C6D-AB74-7FB2-2E8715193D0D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995AB408-CA9D-C6D1-43CB-8D7FF296C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57325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0CA481-21E8-41D5-A4CF-22121E97B92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358685" y="1709521"/>
            <a:ext cx="3074988" cy="2106613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0">
                <a:solidFill>
                  <a:srgbClr val="000000"/>
                </a:solidFill>
              </a:defRPr>
            </a:lvl1pPr>
            <a:lvl2pPr marL="88900" indent="0">
              <a:buNone/>
              <a:defRPr sz="1100">
                <a:solidFill>
                  <a:srgbClr val="000000"/>
                </a:solidFill>
              </a:defRPr>
            </a:lvl2pPr>
            <a:lvl3pPr marL="914400" indent="0">
              <a:buNone/>
              <a:defRPr sz="1100">
                <a:solidFill>
                  <a:srgbClr val="000000"/>
                </a:solidFill>
              </a:defRPr>
            </a:lvl3pPr>
            <a:lvl4pPr marL="1371600" indent="0">
              <a:buNone/>
              <a:defRPr sz="1100">
                <a:solidFill>
                  <a:srgbClr val="000000"/>
                </a:solidFill>
              </a:defRPr>
            </a:lvl4pPr>
            <a:lvl5pPr marL="1828800" indent="0">
              <a:buNone/>
              <a:defRPr sz="11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2907FEEB-2992-4632-BB12-E7EB97011B6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935234" y="1685465"/>
            <a:ext cx="3074988" cy="2106613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0">
                <a:solidFill>
                  <a:srgbClr val="000000"/>
                </a:solidFill>
              </a:defRPr>
            </a:lvl1pPr>
            <a:lvl2pPr marL="88900" indent="0">
              <a:buNone/>
              <a:defRPr sz="1100">
                <a:solidFill>
                  <a:srgbClr val="000000"/>
                </a:solidFill>
              </a:defRPr>
            </a:lvl2pPr>
            <a:lvl3pPr marL="914400" indent="0">
              <a:buNone/>
              <a:defRPr sz="1100">
                <a:solidFill>
                  <a:srgbClr val="000000"/>
                </a:solidFill>
              </a:defRPr>
            </a:lvl3pPr>
            <a:lvl4pPr marL="1371600" indent="0">
              <a:buNone/>
              <a:defRPr sz="1100">
                <a:solidFill>
                  <a:srgbClr val="000000"/>
                </a:solidFill>
              </a:defRPr>
            </a:lvl4pPr>
            <a:lvl5pPr marL="1828800" indent="0">
              <a:buNone/>
              <a:defRPr sz="11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9371FD70-EA3F-4141-9D29-E3E11AE7A74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514792" y="1685465"/>
            <a:ext cx="3074988" cy="2106613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0">
                <a:solidFill>
                  <a:srgbClr val="000000"/>
                </a:solidFill>
              </a:defRPr>
            </a:lvl1pPr>
            <a:lvl2pPr marL="88900" indent="0">
              <a:buNone/>
              <a:defRPr sz="1100">
                <a:solidFill>
                  <a:srgbClr val="000000"/>
                </a:solidFill>
              </a:defRPr>
            </a:lvl2pPr>
            <a:lvl3pPr marL="914400" indent="0">
              <a:buNone/>
              <a:defRPr sz="1100">
                <a:solidFill>
                  <a:srgbClr val="000000"/>
                </a:solidFill>
              </a:defRPr>
            </a:lvl3pPr>
            <a:lvl4pPr marL="1371600" indent="0">
              <a:buNone/>
              <a:defRPr sz="1100">
                <a:solidFill>
                  <a:srgbClr val="000000"/>
                </a:solidFill>
              </a:defRPr>
            </a:lvl4pPr>
            <a:lvl5pPr marL="1828800" indent="0">
              <a:buNone/>
              <a:defRPr sz="11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60774267-4358-4902-92AD-1572F2016D2F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358685" y="3935634"/>
            <a:ext cx="3074988" cy="2106613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0">
                <a:solidFill>
                  <a:srgbClr val="000000"/>
                </a:solidFill>
              </a:defRPr>
            </a:lvl1pPr>
            <a:lvl2pPr marL="88900" indent="0">
              <a:buNone/>
              <a:defRPr sz="1100">
                <a:solidFill>
                  <a:srgbClr val="000000"/>
                </a:solidFill>
              </a:defRPr>
            </a:lvl2pPr>
            <a:lvl3pPr marL="914400" indent="0">
              <a:buNone/>
              <a:defRPr sz="1100">
                <a:solidFill>
                  <a:srgbClr val="000000"/>
                </a:solidFill>
              </a:defRPr>
            </a:lvl3pPr>
            <a:lvl4pPr marL="1371600" indent="0">
              <a:buNone/>
              <a:defRPr sz="1100">
                <a:solidFill>
                  <a:srgbClr val="000000"/>
                </a:solidFill>
              </a:defRPr>
            </a:lvl4pPr>
            <a:lvl5pPr marL="1828800" indent="0">
              <a:buNone/>
              <a:defRPr sz="11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9ED9891F-4249-47D0-9F6C-25730267601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935234" y="3911578"/>
            <a:ext cx="3074988" cy="2106613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0">
                <a:solidFill>
                  <a:srgbClr val="000000"/>
                </a:solidFill>
              </a:defRPr>
            </a:lvl1pPr>
            <a:lvl2pPr marL="88900" indent="0">
              <a:buNone/>
              <a:defRPr sz="1100">
                <a:solidFill>
                  <a:srgbClr val="000000"/>
                </a:solidFill>
              </a:defRPr>
            </a:lvl2pPr>
            <a:lvl3pPr marL="914400" indent="0">
              <a:buNone/>
              <a:defRPr sz="1100">
                <a:solidFill>
                  <a:srgbClr val="000000"/>
                </a:solidFill>
              </a:defRPr>
            </a:lvl3pPr>
            <a:lvl4pPr marL="1371600" indent="0">
              <a:buNone/>
              <a:defRPr sz="1100">
                <a:solidFill>
                  <a:srgbClr val="000000"/>
                </a:solidFill>
              </a:defRPr>
            </a:lvl4pPr>
            <a:lvl5pPr marL="1828800" indent="0">
              <a:buNone/>
              <a:defRPr sz="11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7944504D-A0B5-49CA-871C-71B1A09B55CA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514792" y="3911578"/>
            <a:ext cx="3074988" cy="2106613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0">
                <a:solidFill>
                  <a:srgbClr val="000000"/>
                </a:solidFill>
              </a:defRPr>
            </a:lvl1pPr>
            <a:lvl2pPr marL="88900" indent="0">
              <a:buNone/>
              <a:defRPr sz="1100">
                <a:solidFill>
                  <a:srgbClr val="000000"/>
                </a:solidFill>
              </a:defRPr>
            </a:lvl2pPr>
            <a:lvl3pPr marL="914400" indent="0">
              <a:buNone/>
              <a:defRPr sz="1100">
                <a:solidFill>
                  <a:srgbClr val="000000"/>
                </a:solidFill>
              </a:defRPr>
            </a:lvl3pPr>
            <a:lvl4pPr marL="1371600" indent="0">
              <a:buNone/>
              <a:defRPr sz="1100">
                <a:solidFill>
                  <a:srgbClr val="000000"/>
                </a:solidFill>
              </a:defRPr>
            </a:lvl4pPr>
            <a:lvl5pPr marL="1828800" indent="0">
              <a:buNone/>
              <a:defRPr sz="11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C5BDF8F-818E-B484-6575-F9B58F8BD496}"/>
              </a:ext>
            </a:extLst>
          </p:cNvPr>
          <p:cNvGrpSpPr/>
          <p:nvPr userDrawn="1"/>
        </p:nvGrpSpPr>
        <p:grpSpPr>
          <a:xfrm>
            <a:off x="1049375" y="1736681"/>
            <a:ext cx="305812" cy="305812"/>
            <a:chOff x="862625" y="2255575"/>
            <a:chExt cx="396003" cy="396003"/>
          </a:xfrm>
          <a:solidFill>
            <a:schemeClr val="accent2"/>
          </a:solidFill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32700632-571A-1C55-7A43-756BF07B9017}"/>
                </a:ext>
              </a:extLst>
            </p:cNvPr>
            <p:cNvSpPr/>
            <p:nvPr userDrawn="1"/>
          </p:nvSpPr>
          <p:spPr>
            <a:xfrm>
              <a:off x="862625" y="2255575"/>
              <a:ext cx="396003" cy="39600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noAutofit/>
            </a:bodyPr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420A68B-9D8F-FA54-2B18-381880D454FF}"/>
                </a:ext>
              </a:extLst>
            </p:cNvPr>
            <p:cNvGrpSpPr/>
            <p:nvPr userDrawn="1"/>
          </p:nvGrpSpPr>
          <p:grpSpPr>
            <a:xfrm>
              <a:off x="951850" y="2374689"/>
              <a:ext cx="217552" cy="182628"/>
              <a:chOff x="798036" y="2976923"/>
              <a:chExt cx="217552" cy="182628"/>
            </a:xfrm>
            <a:grpFill/>
          </p:grpSpPr>
          <p:cxnSp>
            <p:nvCxnSpPr>
              <p:cNvPr id="8" name="Straight Connector 7">
                <a:extLst>
                  <a:ext uri="{FF2B5EF4-FFF2-40B4-BE49-F238E27FC236}">
                    <a16:creationId xmlns:a16="http://schemas.microsoft.com/office/drawing/2014/main" id="{EDF791D4-A149-0D91-70CC-3A168187A806}"/>
                  </a:ext>
                </a:extLst>
              </p:cNvPr>
              <p:cNvCxnSpPr/>
              <p:nvPr userDrawn="1"/>
            </p:nvCxnSpPr>
            <p:spPr>
              <a:xfrm>
                <a:off x="798036" y="3060118"/>
                <a:ext cx="110200" cy="9245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F2EEE6D9-93D9-CA7F-BF90-FBE540AD42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885487" y="2976923"/>
                <a:ext cx="130101" cy="18262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2" name="Номер слайда 5">
            <a:extLst>
              <a:ext uri="{FF2B5EF4-FFF2-40B4-BE49-F238E27FC236}">
                <a16:creationId xmlns:a16="http://schemas.microsoft.com/office/drawing/2014/main" id="{B1D5C55B-F30D-663C-2BF5-54B1C6317AB8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2FB2974F-9A03-6AC8-E16B-C9700E0EB7AB}"/>
              </a:ext>
            </a:extLst>
          </p:cNvPr>
          <p:cNvGrpSpPr/>
          <p:nvPr userDrawn="1"/>
        </p:nvGrpSpPr>
        <p:grpSpPr>
          <a:xfrm>
            <a:off x="1039129" y="3927683"/>
            <a:ext cx="305812" cy="305812"/>
            <a:chOff x="862625" y="2255575"/>
            <a:chExt cx="396003" cy="396003"/>
          </a:xfrm>
          <a:solidFill>
            <a:schemeClr val="accent2"/>
          </a:solidFill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41CC57DF-815D-8CA8-28AD-C308CE4B94EB}"/>
                </a:ext>
              </a:extLst>
            </p:cNvPr>
            <p:cNvSpPr/>
            <p:nvPr userDrawn="1"/>
          </p:nvSpPr>
          <p:spPr>
            <a:xfrm>
              <a:off x="862625" y="2255575"/>
              <a:ext cx="396003" cy="39600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noAutofit/>
            </a:bodyPr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4AFED478-54D3-BFEC-5F89-951B454B8143}"/>
                </a:ext>
              </a:extLst>
            </p:cNvPr>
            <p:cNvGrpSpPr/>
            <p:nvPr userDrawn="1"/>
          </p:nvGrpSpPr>
          <p:grpSpPr>
            <a:xfrm>
              <a:off x="951850" y="2374689"/>
              <a:ext cx="217552" cy="182628"/>
              <a:chOff x="798036" y="2976923"/>
              <a:chExt cx="217552" cy="182628"/>
            </a:xfrm>
            <a:grpFill/>
          </p:grpSpPr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90193209-FB5F-6D58-48E5-03979FC472A3}"/>
                  </a:ext>
                </a:extLst>
              </p:cNvPr>
              <p:cNvCxnSpPr/>
              <p:nvPr userDrawn="1"/>
            </p:nvCxnSpPr>
            <p:spPr>
              <a:xfrm>
                <a:off x="798036" y="3060118"/>
                <a:ext cx="110200" cy="9245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2AE94D88-FEA4-58A2-0BF3-C08C72809CC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885487" y="2976923"/>
                <a:ext cx="130101" cy="18262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211A95EA-B4C6-EEE1-9E11-89F29DE1A91B}"/>
              </a:ext>
            </a:extLst>
          </p:cNvPr>
          <p:cNvGrpSpPr/>
          <p:nvPr userDrawn="1"/>
        </p:nvGrpSpPr>
        <p:grpSpPr>
          <a:xfrm>
            <a:off x="4629422" y="1709521"/>
            <a:ext cx="305812" cy="305812"/>
            <a:chOff x="862625" y="2255575"/>
            <a:chExt cx="396003" cy="396003"/>
          </a:xfrm>
          <a:solidFill>
            <a:schemeClr val="accent2"/>
          </a:solidFill>
        </p:grpSpPr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60407E5B-F3DE-DBAD-BC8D-BF9BC851F570}"/>
                </a:ext>
              </a:extLst>
            </p:cNvPr>
            <p:cNvSpPr/>
            <p:nvPr userDrawn="1"/>
          </p:nvSpPr>
          <p:spPr>
            <a:xfrm>
              <a:off x="862625" y="2255575"/>
              <a:ext cx="396003" cy="39600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noAutofit/>
            </a:bodyPr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A26BBE1C-A277-EB46-E4FC-3CF5B13067C8}"/>
                </a:ext>
              </a:extLst>
            </p:cNvPr>
            <p:cNvGrpSpPr/>
            <p:nvPr userDrawn="1"/>
          </p:nvGrpSpPr>
          <p:grpSpPr>
            <a:xfrm>
              <a:off x="951850" y="2374689"/>
              <a:ext cx="217552" cy="182628"/>
              <a:chOff x="798036" y="2976923"/>
              <a:chExt cx="217552" cy="182628"/>
            </a:xfrm>
            <a:grpFill/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06AAEC7B-456D-F4B7-9BA6-51F58EB7D73E}"/>
                  </a:ext>
                </a:extLst>
              </p:cNvPr>
              <p:cNvCxnSpPr/>
              <p:nvPr userDrawn="1"/>
            </p:nvCxnSpPr>
            <p:spPr>
              <a:xfrm>
                <a:off x="798036" y="3060118"/>
                <a:ext cx="110200" cy="9245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52973E82-652B-DC1A-8690-09E70BEAE19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885487" y="2976923"/>
                <a:ext cx="130101" cy="18262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1C8D367A-B05D-CF0F-A5EB-E37B2018C88E}"/>
              </a:ext>
            </a:extLst>
          </p:cNvPr>
          <p:cNvGrpSpPr/>
          <p:nvPr userDrawn="1"/>
        </p:nvGrpSpPr>
        <p:grpSpPr>
          <a:xfrm>
            <a:off x="8205971" y="1709521"/>
            <a:ext cx="305812" cy="305812"/>
            <a:chOff x="862625" y="2255575"/>
            <a:chExt cx="396003" cy="396003"/>
          </a:xfrm>
          <a:solidFill>
            <a:schemeClr val="accent2"/>
          </a:solidFill>
        </p:grpSpPr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687F1E91-1CDE-855C-88F4-8F2736358091}"/>
                </a:ext>
              </a:extLst>
            </p:cNvPr>
            <p:cNvSpPr/>
            <p:nvPr userDrawn="1"/>
          </p:nvSpPr>
          <p:spPr>
            <a:xfrm>
              <a:off x="862625" y="2255575"/>
              <a:ext cx="396003" cy="39600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noAutofit/>
            </a:bodyPr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2C3EAE42-E0F2-9990-2A8D-F4CF2A3E77D5}"/>
                </a:ext>
              </a:extLst>
            </p:cNvPr>
            <p:cNvGrpSpPr/>
            <p:nvPr userDrawn="1"/>
          </p:nvGrpSpPr>
          <p:grpSpPr>
            <a:xfrm>
              <a:off x="951850" y="2374689"/>
              <a:ext cx="217552" cy="182628"/>
              <a:chOff x="798036" y="2976923"/>
              <a:chExt cx="217552" cy="182628"/>
            </a:xfrm>
            <a:grpFill/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EB5EE71C-409B-6709-3B66-5D30FC669BB6}"/>
                  </a:ext>
                </a:extLst>
              </p:cNvPr>
              <p:cNvCxnSpPr/>
              <p:nvPr userDrawn="1"/>
            </p:nvCxnSpPr>
            <p:spPr>
              <a:xfrm>
                <a:off x="798036" y="3060118"/>
                <a:ext cx="110200" cy="9245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CEB132A6-51FA-C949-871B-139DCE75B08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885487" y="2976923"/>
                <a:ext cx="130101" cy="18262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E0525DAF-3EEF-A4DA-8ED1-F42B44E67BEC}"/>
              </a:ext>
            </a:extLst>
          </p:cNvPr>
          <p:cNvGrpSpPr/>
          <p:nvPr userDrawn="1"/>
        </p:nvGrpSpPr>
        <p:grpSpPr>
          <a:xfrm>
            <a:off x="8205971" y="3927549"/>
            <a:ext cx="305812" cy="305812"/>
            <a:chOff x="862625" y="2255575"/>
            <a:chExt cx="396003" cy="396003"/>
          </a:xfrm>
          <a:solidFill>
            <a:schemeClr val="accent2"/>
          </a:solidFill>
        </p:grpSpPr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B620B768-396D-C977-A0D6-C0AD9D0ECD8D}"/>
                </a:ext>
              </a:extLst>
            </p:cNvPr>
            <p:cNvSpPr/>
            <p:nvPr userDrawn="1"/>
          </p:nvSpPr>
          <p:spPr>
            <a:xfrm>
              <a:off x="862625" y="2255575"/>
              <a:ext cx="396003" cy="39600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noAutofit/>
            </a:bodyPr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45D93ED6-C825-936C-A620-FE2A3815D8B5}"/>
                </a:ext>
              </a:extLst>
            </p:cNvPr>
            <p:cNvGrpSpPr/>
            <p:nvPr userDrawn="1"/>
          </p:nvGrpSpPr>
          <p:grpSpPr>
            <a:xfrm>
              <a:off x="951850" y="2374689"/>
              <a:ext cx="217552" cy="182628"/>
              <a:chOff x="798036" y="2976923"/>
              <a:chExt cx="217552" cy="182628"/>
            </a:xfrm>
            <a:grpFill/>
          </p:grpSpPr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3010DC15-BA61-6F1F-26F0-3F4D4EB880E0}"/>
                  </a:ext>
                </a:extLst>
              </p:cNvPr>
              <p:cNvCxnSpPr/>
              <p:nvPr userDrawn="1"/>
            </p:nvCxnSpPr>
            <p:spPr>
              <a:xfrm>
                <a:off x="798036" y="3060118"/>
                <a:ext cx="110200" cy="9245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A55D42B0-E6D6-8F0A-724C-86D5CC903C7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885487" y="2976923"/>
                <a:ext cx="130101" cy="18262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FF7B213A-8FC1-F792-A067-934A71CC9E81}"/>
              </a:ext>
            </a:extLst>
          </p:cNvPr>
          <p:cNvGrpSpPr/>
          <p:nvPr userDrawn="1"/>
        </p:nvGrpSpPr>
        <p:grpSpPr>
          <a:xfrm>
            <a:off x="4629422" y="3927683"/>
            <a:ext cx="305812" cy="305812"/>
            <a:chOff x="862625" y="2255575"/>
            <a:chExt cx="396003" cy="396003"/>
          </a:xfrm>
          <a:solidFill>
            <a:schemeClr val="accent2"/>
          </a:solidFill>
        </p:grpSpPr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E5A7A83B-D462-2AF6-C685-9E5D90B8D0EC}"/>
                </a:ext>
              </a:extLst>
            </p:cNvPr>
            <p:cNvSpPr/>
            <p:nvPr userDrawn="1"/>
          </p:nvSpPr>
          <p:spPr>
            <a:xfrm>
              <a:off x="862625" y="2255575"/>
              <a:ext cx="396003" cy="39600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noAutofit/>
            </a:bodyPr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7932FDB3-E9ED-D3E9-B82C-F09411DE24F2}"/>
                </a:ext>
              </a:extLst>
            </p:cNvPr>
            <p:cNvGrpSpPr/>
            <p:nvPr userDrawn="1"/>
          </p:nvGrpSpPr>
          <p:grpSpPr>
            <a:xfrm>
              <a:off x="951850" y="2374689"/>
              <a:ext cx="217552" cy="182628"/>
              <a:chOff x="798036" y="2976923"/>
              <a:chExt cx="217552" cy="182628"/>
            </a:xfrm>
            <a:grpFill/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56688783-6A7E-914F-463D-53FE1A13A749}"/>
                  </a:ext>
                </a:extLst>
              </p:cNvPr>
              <p:cNvCxnSpPr/>
              <p:nvPr userDrawn="1"/>
            </p:nvCxnSpPr>
            <p:spPr>
              <a:xfrm>
                <a:off x="798036" y="3060118"/>
                <a:ext cx="110200" cy="9245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FAEF1C6A-8BEF-57D2-BB3C-634C3FAD824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885487" y="2976923"/>
                <a:ext cx="130101" cy="18262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4FE5B36-3770-81D6-9931-98D9C27319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02927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7A32B497-FBB2-E918-751E-59E3D31F0511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181D15D-FFB4-B2AB-CF41-B776D62866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853213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цифрами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8657" y="1260057"/>
            <a:ext cx="11272212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35" name="Дата 3">
            <a:extLst>
              <a:ext uri="{FF2B5EF4-FFF2-40B4-BE49-F238E27FC236}">
                <a16:creationId xmlns:a16="http://schemas.microsoft.com/office/drawing/2014/main" id="{66732ABA-1F26-344A-A3CD-CA95A73BAFF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CE4456A0-3F08-D67C-D665-C110E59BC256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lvl="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DADE54B-597D-C8C6-F8DB-F40309A568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69231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цифрами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7542" y="1277521"/>
            <a:ext cx="11243637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58737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605E0600-3D2A-DD43-89F1-7B25870F7A82}"/>
              </a:ext>
            </a:extLst>
          </p:cNvPr>
          <p:cNvSpPr txBox="1">
            <a:spLocks/>
          </p:cNvSpPr>
          <p:nvPr userDrawn="1"/>
        </p:nvSpPr>
        <p:spPr>
          <a:xfrm>
            <a:off x="58737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6" name="Подзаголовок 2">
            <a:extLst>
              <a:ext uri="{FF2B5EF4-FFF2-40B4-BE49-F238E27FC236}">
                <a16:creationId xmlns:a16="http://schemas.microsoft.com/office/drawing/2014/main" id="{5BCF4016-8BFD-8947-A4E7-3D24A7A32E6C}"/>
              </a:ext>
            </a:extLst>
          </p:cNvPr>
          <p:cNvSpPr txBox="1">
            <a:spLocks/>
          </p:cNvSpPr>
          <p:nvPr userDrawn="1"/>
        </p:nvSpPr>
        <p:spPr>
          <a:xfrm>
            <a:off x="587374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18" name="Подзаголовок 2">
            <a:extLst>
              <a:ext uri="{FF2B5EF4-FFF2-40B4-BE49-F238E27FC236}">
                <a16:creationId xmlns:a16="http://schemas.microsoft.com/office/drawing/2014/main" id="{00126CB7-73AB-934B-9EE3-C5C5CD6E4571}"/>
              </a:ext>
            </a:extLst>
          </p:cNvPr>
          <p:cNvSpPr txBox="1">
            <a:spLocks/>
          </p:cNvSpPr>
          <p:nvPr userDrawn="1"/>
        </p:nvSpPr>
        <p:spPr>
          <a:xfrm>
            <a:off x="438213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19" name="Подзаголовок 2">
            <a:extLst>
              <a:ext uri="{FF2B5EF4-FFF2-40B4-BE49-F238E27FC236}">
                <a16:creationId xmlns:a16="http://schemas.microsoft.com/office/drawing/2014/main" id="{26EC1276-96E4-D547-9CBE-9FC7D100D3A8}"/>
              </a:ext>
            </a:extLst>
          </p:cNvPr>
          <p:cNvSpPr txBox="1">
            <a:spLocks/>
          </p:cNvSpPr>
          <p:nvPr userDrawn="1"/>
        </p:nvSpPr>
        <p:spPr>
          <a:xfrm>
            <a:off x="438213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0" name="Подзаголовок 2">
            <a:extLst>
              <a:ext uri="{FF2B5EF4-FFF2-40B4-BE49-F238E27FC236}">
                <a16:creationId xmlns:a16="http://schemas.microsoft.com/office/drawing/2014/main" id="{DB2C8B15-EA6F-0E47-8769-3883A7FFE66E}"/>
              </a:ext>
            </a:extLst>
          </p:cNvPr>
          <p:cNvSpPr txBox="1">
            <a:spLocks/>
          </p:cNvSpPr>
          <p:nvPr userDrawn="1"/>
        </p:nvSpPr>
        <p:spPr>
          <a:xfrm>
            <a:off x="4382134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55</a:t>
            </a:r>
          </a:p>
        </p:txBody>
      </p:sp>
      <p:sp>
        <p:nvSpPr>
          <p:cNvPr id="21" name="Подзаголовок 2">
            <a:extLst>
              <a:ext uri="{FF2B5EF4-FFF2-40B4-BE49-F238E27FC236}">
                <a16:creationId xmlns:a16="http://schemas.microsoft.com/office/drawing/2014/main" id="{FF420C79-6F94-414E-82C9-D88CBE0CD630}"/>
              </a:ext>
            </a:extLst>
          </p:cNvPr>
          <p:cNvSpPr txBox="1">
            <a:spLocks/>
          </p:cNvSpPr>
          <p:nvPr userDrawn="1"/>
        </p:nvSpPr>
        <p:spPr>
          <a:xfrm>
            <a:off x="8199755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2" name="Подзаголовок 2">
            <a:extLst>
              <a:ext uri="{FF2B5EF4-FFF2-40B4-BE49-F238E27FC236}">
                <a16:creationId xmlns:a16="http://schemas.microsoft.com/office/drawing/2014/main" id="{7F82D417-9A1A-FF49-95C4-C7E49B1327F4}"/>
              </a:ext>
            </a:extLst>
          </p:cNvPr>
          <p:cNvSpPr txBox="1">
            <a:spLocks/>
          </p:cNvSpPr>
          <p:nvPr userDrawn="1"/>
        </p:nvSpPr>
        <p:spPr>
          <a:xfrm>
            <a:off x="8199754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3" name="Подзаголовок 2">
            <a:extLst>
              <a:ext uri="{FF2B5EF4-FFF2-40B4-BE49-F238E27FC236}">
                <a16:creationId xmlns:a16="http://schemas.microsoft.com/office/drawing/2014/main" id="{1729DECF-ACAF-B544-AECF-2708159B7FAA}"/>
              </a:ext>
            </a:extLst>
          </p:cNvPr>
          <p:cNvSpPr txBox="1">
            <a:spLocks/>
          </p:cNvSpPr>
          <p:nvPr userDrawn="1"/>
        </p:nvSpPr>
        <p:spPr>
          <a:xfrm>
            <a:off x="8199755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24" name="Подзаголовок 2">
            <a:extLst>
              <a:ext uri="{FF2B5EF4-FFF2-40B4-BE49-F238E27FC236}">
                <a16:creationId xmlns:a16="http://schemas.microsoft.com/office/drawing/2014/main" id="{2EAE8651-F66C-7747-9DED-671C41731072}"/>
              </a:ext>
            </a:extLst>
          </p:cNvPr>
          <p:cNvSpPr txBox="1">
            <a:spLocks/>
          </p:cNvSpPr>
          <p:nvPr userDrawn="1"/>
        </p:nvSpPr>
        <p:spPr>
          <a:xfrm>
            <a:off x="58737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5" name="Подзаголовок 2">
            <a:extLst>
              <a:ext uri="{FF2B5EF4-FFF2-40B4-BE49-F238E27FC236}">
                <a16:creationId xmlns:a16="http://schemas.microsoft.com/office/drawing/2014/main" id="{9F22FECE-96CF-104D-A050-09965E3A3AA5}"/>
              </a:ext>
            </a:extLst>
          </p:cNvPr>
          <p:cNvSpPr txBox="1">
            <a:spLocks/>
          </p:cNvSpPr>
          <p:nvPr userDrawn="1"/>
        </p:nvSpPr>
        <p:spPr>
          <a:xfrm>
            <a:off x="58737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6" name="Подзаголовок 2">
            <a:extLst>
              <a:ext uri="{FF2B5EF4-FFF2-40B4-BE49-F238E27FC236}">
                <a16:creationId xmlns:a16="http://schemas.microsoft.com/office/drawing/2014/main" id="{117CF62B-9050-B649-9A9A-2A3D45E8CCAC}"/>
              </a:ext>
            </a:extLst>
          </p:cNvPr>
          <p:cNvSpPr txBox="1">
            <a:spLocks/>
          </p:cNvSpPr>
          <p:nvPr userDrawn="1"/>
        </p:nvSpPr>
        <p:spPr>
          <a:xfrm>
            <a:off x="587374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27" name="Подзаголовок 2">
            <a:extLst>
              <a:ext uri="{FF2B5EF4-FFF2-40B4-BE49-F238E27FC236}">
                <a16:creationId xmlns:a16="http://schemas.microsoft.com/office/drawing/2014/main" id="{7E4B519D-0E38-7040-9DF6-98ACF801197F}"/>
              </a:ext>
            </a:extLst>
          </p:cNvPr>
          <p:cNvSpPr txBox="1">
            <a:spLocks/>
          </p:cNvSpPr>
          <p:nvPr userDrawn="1"/>
        </p:nvSpPr>
        <p:spPr>
          <a:xfrm>
            <a:off x="438213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8" name="Подзаголовок 2">
            <a:extLst>
              <a:ext uri="{FF2B5EF4-FFF2-40B4-BE49-F238E27FC236}">
                <a16:creationId xmlns:a16="http://schemas.microsoft.com/office/drawing/2014/main" id="{4441DC30-EC1C-0843-A973-61C6A5307218}"/>
              </a:ext>
            </a:extLst>
          </p:cNvPr>
          <p:cNvSpPr txBox="1">
            <a:spLocks/>
          </p:cNvSpPr>
          <p:nvPr userDrawn="1"/>
        </p:nvSpPr>
        <p:spPr>
          <a:xfrm>
            <a:off x="438213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9" name="Подзаголовок 2">
            <a:extLst>
              <a:ext uri="{FF2B5EF4-FFF2-40B4-BE49-F238E27FC236}">
                <a16:creationId xmlns:a16="http://schemas.microsoft.com/office/drawing/2014/main" id="{BD34C5FD-97BD-9B48-93BD-33F356D6AFA7}"/>
              </a:ext>
            </a:extLst>
          </p:cNvPr>
          <p:cNvSpPr txBox="1">
            <a:spLocks/>
          </p:cNvSpPr>
          <p:nvPr userDrawn="1"/>
        </p:nvSpPr>
        <p:spPr>
          <a:xfrm>
            <a:off x="4382134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55</a:t>
            </a:r>
          </a:p>
        </p:txBody>
      </p:sp>
      <p:sp>
        <p:nvSpPr>
          <p:cNvPr id="30" name="Подзаголовок 2">
            <a:extLst>
              <a:ext uri="{FF2B5EF4-FFF2-40B4-BE49-F238E27FC236}">
                <a16:creationId xmlns:a16="http://schemas.microsoft.com/office/drawing/2014/main" id="{8B590F70-B231-B347-8CB3-106E50517972}"/>
              </a:ext>
            </a:extLst>
          </p:cNvPr>
          <p:cNvSpPr txBox="1">
            <a:spLocks/>
          </p:cNvSpPr>
          <p:nvPr userDrawn="1"/>
        </p:nvSpPr>
        <p:spPr>
          <a:xfrm>
            <a:off x="8199755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32" name="Подзаголовок 2">
            <a:extLst>
              <a:ext uri="{FF2B5EF4-FFF2-40B4-BE49-F238E27FC236}">
                <a16:creationId xmlns:a16="http://schemas.microsoft.com/office/drawing/2014/main" id="{17B66FAB-2AAF-054C-984F-5C6B50EB76D6}"/>
              </a:ext>
            </a:extLst>
          </p:cNvPr>
          <p:cNvSpPr txBox="1">
            <a:spLocks/>
          </p:cNvSpPr>
          <p:nvPr userDrawn="1"/>
        </p:nvSpPr>
        <p:spPr>
          <a:xfrm>
            <a:off x="8199754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34" name="Подзаголовок 2">
            <a:extLst>
              <a:ext uri="{FF2B5EF4-FFF2-40B4-BE49-F238E27FC236}">
                <a16:creationId xmlns:a16="http://schemas.microsoft.com/office/drawing/2014/main" id="{587898AD-F455-EA41-B5F1-E2E084BE3ABA}"/>
              </a:ext>
            </a:extLst>
          </p:cNvPr>
          <p:cNvSpPr txBox="1">
            <a:spLocks/>
          </p:cNvSpPr>
          <p:nvPr userDrawn="1"/>
        </p:nvSpPr>
        <p:spPr>
          <a:xfrm>
            <a:off x="8199755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31" name="Дата 3">
            <a:extLst>
              <a:ext uri="{FF2B5EF4-FFF2-40B4-BE49-F238E27FC236}">
                <a16:creationId xmlns:a16="http://schemas.microsoft.com/office/drawing/2014/main" id="{4B7279A9-95FA-2D47-A321-25DE95AE2D7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33" name="Номер слайда 5">
            <a:extLst>
              <a:ext uri="{FF2B5EF4-FFF2-40B4-BE49-F238E27FC236}">
                <a16:creationId xmlns:a16="http://schemas.microsoft.com/office/drawing/2014/main" id="{8EB8F628-F5B4-4F48-9909-84568691A0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0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Школа Летово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  |   </a:t>
            </a:r>
            <a:fld id="{3FF7ECCA-52A6-EE4C-AA7E-82FCFCDACFE6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pPr marL="0" marR="0" lvl="0" indent="0" algn="r" defTabSz="9143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AA97DEB-0D7B-25FF-8C46-8E290C71ED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37637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2547" userDrawn="1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цифрами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7542" y="1287046"/>
            <a:ext cx="11243637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58737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605E0600-3D2A-DD43-89F1-7B25870F7A82}"/>
              </a:ext>
            </a:extLst>
          </p:cNvPr>
          <p:cNvSpPr txBox="1">
            <a:spLocks/>
          </p:cNvSpPr>
          <p:nvPr userDrawn="1"/>
        </p:nvSpPr>
        <p:spPr>
          <a:xfrm>
            <a:off x="58737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6" name="Подзаголовок 2">
            <a:extLst>
              <a:ext uri="{FF2B5EF4-FFF2-40B4-BE49-F238E27FC236}">
                <a16:creationId xmlns:a16="http://schemas.microsoft.com/office/drawing/2014/main" id="{5BCF4016-8BFD-8947-A4E7-3D24A7A32E6C}"/>
              </a:ext>
            </a:extLst>
          </p:cNvPr>
          <p:cNvSpPr txBox="1">
            <a:spLocks/>
          </p:cNvSpPr>
          <p:nvPr userDrawn="1"/>
        </p:nvSpPr>
        <p:spPr>
          <a:xfrm>
            <a:off x="587374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18" name="Подзаголовок 2">
            <a:extLst>
              <a:ext uri="{FF2B5EF4-FFF2-40B4-BE49-F238E27FC236}">
                <a16:creationId xmlns:a16="http://schemas.microsoft.com/office/drawing/2014/main" id="{00126CB7-73AB-934B-9EE3-C5C5CD6E4571}"/>
              </a:ext>
            </a:extLst>
          </p:cNvPr>
          <p:cNvSpPr txBox="1">
            <a:spLocks/>
          </p:cNvSpPr>
          <p:nvPr userDrawn="1"/>
        </p:nvSpPr>
        <p:spPr>
          <a:xfrm>
            <a:off x="438213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19" name="Подзаголовок 2">
            <a:extLst>
              <a:ext uri="{FF2B5EF4-FFF2-40B4-BE49-F238E27FC236}">
                <a16:creationId xmlns:a16="http://schemas.microsoft.com/office/drawing/2014/main" id="{26EC1276-96E4-D547-9CBE-9FC7D100D3A8}"/>
              </a:ext>
            </a:extLst>
          </p:cNvPr>
          <p:cNvSpPr txBox="1">
            <a:spLocks/>
          </p:cNvSpPr>
          <p:nvPr userDrawn="1"/>
        </p:nvSpPr>
        <p:spPr>
          <a:xfrm>
            <a:off x="438213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0" name="Подзаголовок 2">
            <a:extLst>
              <a:ext uri="{FF2B5EF4-FFF2-40B4-BE49-F238E27FC236}">
                <a16:creationId xmlns:a16="http://schemas.microsoft.com/office/drawing/2014/main" id="{DB2C8B15-EA6F-0E47-8769-3883A7FFE66E}"/>
              </a:ext>
            </a:extLst>
          </p:cNvPr>
          <p:cNvSpPr txBox="1">
            <a:spLocks/>
          </p:cNvSpPr>
          <p:nvPr userDrawn="1"/>
        </p:nvSpPr>
        <p:spPr>
          <a:xfrm>
            <a:off x="4382134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55</a:t>
            </a:r>
          </a:p>
        </p:txBody>
      </p:sp>
      <p:sp>
        <p:nvSpPr>
          <p:cNvPr id="21" name="Подзаголовок 2">
            <a:extLst>
              <a:ext uri="{FF2B5EF4-FFF2-40B4-BE49-F238E27FC236}">
                <a16:creationId xmlns:a16="http://schemas.microsoft.com/office/drawing/2014/main" id="{FF420C79-6F94-414E-82C9-D88CBE0CD630}"/>
              </a:ext>
            </a:extLst>
          </p:cNvPr>
          <p:cNvSpPr txBox="1">
            <a:spLocks/>
          </p:cNvSpPr>
          <p:nvPr userDrawn="1"/>
        </p:nvSpPr>
        <p:spPr>
          <a:xfrm>
            <a:off x="8199755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2" name="Подзаголовок 2">
            <a:extLst>
              <a:ext uri="{FF2B5EF4-FFF2-40B4-BE49-F238E27FC236}">
                <a16:creationId xmlns:a16="http://schemas.microsoft.com/office/drawing/2014/main" id="{7F82D417-9A1A-FF49-95C4-C7E49B1327F4}"/>
              </a:ext>
            </a:extLst>
          </p:cNvPr>
          <p:cNvSpPr txBox="1">
            <a:spLocks/>
          </p:cNvSpPr>
          <p:nvPr userDrawn="1"/>
        </p:nvSpPr>
        <p:spPr>
          <a:xfrm>
            <a:off x="8199754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3" name="Подзаголовок 2">
            <a:extLst>
              <a:ext uri="{FF2B5EF4-FFF2-40B4-BE49-F238E27FC236}">
                <a16:creationId xmlns:a16="http://schemas.microsoft.com/office/drawing/2014/main" id="{1729DECF-ACAF-B544-AECF-2708159B7FAA}"/>
              </a:ext>
            </a:extLst>
          </p:cNvPr>
          <p:cNvSpPr txBox="1">
            <a:spLocks/>
          </p:cNvSpPr>
          <p:nvPr userDrawn="1"/>
        </p:nvSpPr>
        <p:spPr>
          <a:xfrm>
            <a:off x="8199755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24" name="Подзаголовок 2">
            <a:extLst>
              <a:ext uri="{FF2B5EF4-FFF2-40B4-BE49-F238E27FC236}">
                <a16:creationId xmlns:a16="http://schemas.microsoft.com/office/drawing/2014/main" id="{2EAE8651-F66C-7747-9DED-671C41731072}"/>
              </a:ext>
            </a:extLst>
          </p:cNvPr>
          <p:cNvSpPr txBox="1">
            <a:spLocks/>
          </p:cNvSpPr>
          <p:nvPr userDrawn="1"/>
        </p:nvSpPr>
        <p:spPr>
          <a:xfrm>
            <a:off x="58737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5" name="Подзаголовок 2">
            <a:extLst>
              <a:ext uri="{FF2B5EF4-FFF2-40B4-BE49-F238E27FC236}">
                <a16:creationId xmlns:a16="http://schemas.microsoft.com/office/drawing/2014/main" id="{9F22FECE-96CF-104D-A050-09965E3A3AA5}"/>
              </a:ext>
            </a:extLst>
          </p:cNvPr>
          <p:cNvSpPr txBox="1">
            <a:spLocks/>
          </p:cNvSpPr>
          <p:nvPr userDrawn="1"/>
        </p:nvSpPr>
        <p:spPr>
          <a:xfrm>
            <a:off x="58737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6" name="Подзаголовок 2">
            <a:extLst>
              <a:ext uri="{FF2B5EF4-FFF2-40B4-BE49-F238E27FC236}">
                <a16:creationId xmlns:a16="http://schemas.microsoft.com/office/drawing/2014/main" id="{117CF62B-9050-B649-9A9A-2A3D45E8CCAC}"/>
              </a:ext>
            </a:extLst>
          </p:cNvPr>
          <p:cNvSpPr txBox="1">
            <a:spLocks/>
          </p:cNvSpPr>
          <p:nvPr userDrawn="1"/>
        </p:nvSpPr>
        <p:spPr>
          <a:xfrm>
            <a:off x="587374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27" name="Подзаголовок 2">
            <a:extLst>
              <a:ext uri="{FF2B5EF4-FFF2-40B4-BE49-F238E27FC236}">
                <a16:creationId xmlns:a16="http://schemas.microsoft.com/office/drawing/2014/main" id="{7E4B519D-0E38-7040-9DF6-98ACF801197F}"/>
              </a:ext>
            </a:extLst>
          </p:cNvPr>
          <p:cNvSpPr txBox="1">
            <a:spLocks/>
          </p:cNvSpPr>
          <p:nvPr userDrawn="1"/>
        </p:nvSpPr>
        <p:spPr>
          <a:xfrm>
            <a:off x="438213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8" name="Подзаголовок 2">
            <a:extLst>
              <a:ext uri="{FF2B5EF4-FFF2-40B4-BE49-F238E27FC236}">
                <a16:creationId xmlns:a16="http://schemas.microsoft.com/office/drawing/2014/main" id="{4441DC30-EC1C-0843-A973-61C6A5307218}"/>
              </a:ext>
            </a:extLst>
          </p:cNvPr>
          <p:cNvSpPr txBox="1">
            <a:spLocks/>
          </p:cNvSpPr>
          <p:nvPr userDrawn="1"/>
        </p:nvSpPr>
        <p:spPr>
          <a:xfrm>
            <a:off x="438213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9" name="Подзаголовок 2">
            <a:extLst>
              <a:ext uri="{FF2B5EF4-FFF2-40B4-BE49-F238E27FC236}">
                <a16:creationId xmlns:a16="http://schemas.microsoft.com/office/drawing/2014/main" id="{BD34C5FD-97BD-9B48-93BD-33F356D6AFA7}"/>
              </a:ext>
            </a:extLst>
          </p:cNvPr>
          <p:cNvSpPr txBox="1">
            <a:spLocks/>
          </p:cNvSpPr>
          <p:nvPr userDrawn="1"/>
        </p:nvSpPr>
        <p:spPr>
          <a:xfrm>
            <a:off x="4382134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55</a:t>
            </a:r>
          </a:p>
        </p:txBody>
      </p:sp>
      <p:sp>
        <p:nvSpPr>
          <p:cNvPr id="30" name="Подзаголовок 2">
            <a:extLst>
              <a:ext uri="{FF2B5EF4-FFF2-40B4-BE49-F238E27FC236}">
                <a16:creationId xmlns:a16="http://schemas.microsoft.com/office/drawing/2014/main" id="{8B590F70-B231-B347-8CB3-106E50517972}"/>
              </a:ext>
            </a:extLst>
          </p:cNvPr>
          <p:cNvSpPr txBox="1">
            <a:spLocks/>
          </p:cNvSpPr>
          <p:nvPr userDrawn="1"/>
        </p:nvSpPr>
        <p:spPr>
          <a:xfrm>
            <a:off x="8199755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32" name="Подзаголовок 2">
            <a:extLst>
              <a:ext uri="{FF2B5EF4-FFF2-40B4-BE49-F238E27FC236}">
                <a16:creationId xmlns:a16="http://schemas.microsoft.com/office/drawing/2014/main" id="{17B66FAB-2AAF-054C-984F-5C6B50EB76D6}"/>
              </a:ext>
            </a:extLst>
          </p:cNvPr>
          <p:cNvSpPr txBox="1">
            <a:spLocks/>
          </p:cNvSpPr>
          <p:nvPr userDrawn="1"/>
        </p:nvSpPr>
        <p:spPr>
          <a:xfrm>
            <a:off x="8199754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34" name="Подзаголовок 2">
            <a:extLst>
              <a:ext uri="{FF2B5EF4-FFF2-40B4-BE49-F238E27FC236}">
                <a16:creationId xmlns:a16="http://schemas.microsoft.com/office/drawing/2014/main" id="{587898AD-F455-EA41-B5F1-E2E084BE3ABA}"/>
              </a:ext>
            </a:extLst>
          </p:cNvPr>
          <p:cNvSpPr txBox="1">
            <a:spLocks/>
          </p:cNvSpPr>
          <p:nvPr userDrawn="1"/>
        </p:nvSpPr>
        <p:spPr>
          <a:xfrm>
            <a:off x="8199755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31" name="Дата 3">
            <a:extLst>
              <a:ext uri="{FF2B5EF4-FFF2-40B4-BE49-F238E27FC236}">
                <a16:creationId xmlns:a16="http://schemas.microsoft.com/office/drawing/2014/main" id="{22ED32C9-3544-5D41-96F2-14FF629EFF8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33" name="Номер слайда 5">
            <a:extLst>
              <a:ext uri="{FF2B5EF4-FFF2-40B4-BE49-F238E27FC236}">
                <a16:creationId xmlns:a16="http://schemas.microsoft.com/office/drawing/2014/main" id="{CB55075B-7F09-8247-B914-96BD24E57A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0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Школа Летово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  |   </a:t>
            </a:r>
            <a:fld id="{3FF7ECCA-52A6-EE4C-AA7E-82FCFCDACFE6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pPr marL="0" marR="0" lvl="0" indent="0" algn="r" defTabSz="9143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B05FB3F-1857-F6F3-4D4F-307B5982E7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84853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цифрами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9770" y="1269603"/>
            <a:ext cx="11243637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58737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605E0600-3D2A-DD43-89F1-7B25870F7A82}"/>
              </a:ext>
            </a:extLst>
          </p:cNvPr>
          <p:cNvSpPr txBox="1">
            <a:spLocks/>
          </p:cNvSpPr>
          <p:nvPr userDrawn="1"/>
        </p:nvSpPr>
        <p:spPr>
          <a:xfrm>
            <a:off x="58737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6" name="Подзаголовок 2">
            <a:extLst>
              <a:ext uri="{FF2B5EF4-FFF2-40B4-BE49-F238E27FC236}">
                <a16:creationId xmlns:a16="http://schemas.microsoft.com/office/drawing/2014/main" id="{5BCF4016-8BFD-8947-A4E7-3D24A7A32E6C}"/>
              </a:ext>
            </a:extLst>
          </p:cNvPr>
          <p:cNvSpPr txBox="1">
            <a:spLocks/>
          </p:cNvSpPr>
          <p:nvPr userDrawn="1"/>
        </p:nvSpPr>
        <p:spPr>
          <a:xfrm>
            <a:off x="587374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18" name="Подзаголовок 2">
            <a:extLst>
              <a:ext uri="{FF2B5EF4-FFF2-40B4-BE49-F238E27FC236}">
                <a16:creationId xmlns:a16="http://schemas.microsoft.com/office/drawing/2014/main" id="{00126CB7-73AB-934B-9EE3-C5C5CD6E4571}"/>
              </a:ext>
            </a:extLst>
          </p:cNvPr>
          <p:cNvSpPr txBox="1">
            <a:spLocks/>
          </p:cNvSpPr>
          <p:nvPr userDrawn="1"/>
        </p:nvSpPr>
        <p:spPr>
          <a:xfrm>
            <a:off x="438213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19" name="Подзаголовок 2">
            <a:extLst>
              <a:ext uri="{FF2B5EF4-FFF2-40B4-BE49-F238E27FC236}">
                <a16:creationId xmlns:a16="http://schemas.microsoft.com/office/drawing/2014/main" id="{26EC1276-96E4-D547-9CBE-9FC7D100D3A8}"/>
              </a:ext>
            </a:extLst>
          </p:cNvPr>
          <p:cNvSpPr txBox="1">
            <a:spLocks/>
          </p:cNvSpPr>
          <p:nvPr userDrawn="1"/>
        </p:nvSpPr>
        <p:spPr>
          <a:xfrm>
            <a:off x="438213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0" name="Подзаголовок 2">
            <a:extLst>
              <a:ext uri="{FF2B5EF4-FFF2-40B4-BE49-F238E27FC236}">
                <a16:creationId xmlns:a16="http://schemas.microsoft.com/office/drawing/2014/main" id="{DB2C8B15-EA6F-0E47-8769-3883A7FFE66E}"/>
              </a:ext>
            </a:extLst>
          </p:cNvPr>
          <p:cNvSpPr txBox="1">
            <a:spLocks/>
          </p:cNvSpPr>
          <p:nvPr userDrawn="1"/>
        </p:nvSpPr>
        <p:spPr>
          <a:xfrm>
            <a:off x="4382134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55</a:t>
            </a:r>
          </a:p>
        </p:txBody>
      </p:sp>
      <p:sp>
        <p:nvSpPr>
          <p:cNvPr id="21" name="Подзаголовок 2">
            <a:extLst>
              <a:ext uri="{FF2B5EF4-FFF2-40B4-BE49-F238E27FC236}">
                <a16:creationId xmlns:a16="http://schemas.microsoft.com/office/drawing/2014/main" id="{FF420C79-6F94-414E-82C9-D88CBE0CD630}"/>
              </a:ext>
            </a:extLst>
          </p:cNvPr>
          <p:cNvSpPr txBox="1">
            <a:spLocks/>
          </p:cNvSpPr>
          <p:nvPr userDrawn="1"/>
        </p:nvSpPr>
        <p:spPr>
          <a:xfrm>
            <a:off x="8199755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2" name="Подзаголовок 2">
            <a:extLst>
              <a:ext uri="{FF2B5EF4-FFF2-40B4-BE49-F238E27FC236}">
                <a16:creationId xmlns:a16="http://schemas.microsoft.com/office/drawing/2014/main" id="{7F82D417-9A1A-FF49-95C4-C7E49B1327F4}"/>
              </a:ext>
            </a:extLst>
          </p:cNvPr>
          <p:cNvSpPr txBox="1">
            <a:spLocks/>
          </p:cNvSpPr>
          <p:nvPr userDrawn="1"/>
        </p:nvSpPr>
        <p:spPr>
          <a:xfrm>
            <a:off x="8199754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3" name="Подзаголовок 2">
            <a:extLst>
              <a:ext uri="{FF2B5EF4-FFF2-40B4-BE49-F238E27FC236}">
                <a16:creationId xmlns:a16="http://schemas.microsoft.com/office/drawing/2014/main" id="{1729DECF-ACAF-B544-AECF-2708159B7FAA}"/>
              </a:ext>
            </a:extLst>
          </p:cNvPr>
          <p:cNvSpPr txBox="1">
            <a:spLocks/>
          </p:cNvSpPr>
          <p:nvPr userDrawn="1"/>
        </p:nvSpPr>
        <p:spPr>
          <a:xfrm>
            <a:off x="8199755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24" name="Подзаголовок 2">
            <a:extLst>
              <a:ext uri="{FF2B5EF4-FFF2-40B4-BE49-F238E27FC236}">
                <a16:creationId xmlns:a16="http://schemas.microsoft.com/office/drawing/2014/main" id="{2EAE8651-F66C-7747-9DED-671C41731072}"/>
              </a:ext>
            </a:extLst>
          </p:cNvPr>
          <p:cNvSpPr txBox="1">
            <a:spLocks/>
          </p:cNvSpPr>
          <p:nvPr userDrawn="1"/>
        </p:nvSpPr>
        <p:spPr>
          <a:xfrm>
            <a:off x="58737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5" name="Подзаголовок 2">
            <a:extLst>
              <a:ext uri="{FF2B5EF4-FFF2-40B4-BE49-F238E27FC236}">
                <a16:creationId xmlns:a16="http://schemas.microsoft.com/office/drawing/2014/main" id="{9F22FECE-96CF-104D-A050-09965E3A3AA5}"/>
              </a:ext>
            </a:extLst>
          </p:cNvPr>
          <p:cNvSpPr txBox="1">
            <a:spLocks/>
          </p:cNvSpPr>
          <p:nvPr userDrawn="1"/>
        </p:nvSpPr>
        <p:spPr>
          <a:xfrm>
            <a:off x="58737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6" name="Подзаголовок 2">
            <a:extLst>
              <a:ext uri="{FF2B5EF4-FFF2-40B4-BE49-F238E27FC236}">
                <a16:creationId xmlns:a16="http://schemas.microsoft.com/office/drawing/2014/main" id="{117CF62B-9050-B649-9A9A-2A3D45E8CCAC}"/>
              </a:ext>
            </a:extLst>
          </p:cNvPr>
          <p:cNvSpPr txBox="1">
            <a:spLocks/>
          </p:cNvSpPr>
          <p:nvPr userDrawn="1"/>
        </p:nvSpPr>
        <p:spPr>
          <a:xfrm>
            <a:off x="587374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27" name="Подзаголовок 2">
            <a:extLst>
              <a:ext uri="{FF2B5EF4-FFF2-40B4-BE49-F238E27FC236}">
                <a16:creationId xmlns:a16="http://schemas.microsoft.com/office/drawing/2014/main" id="{7E4B519D-0E38-7040-9DF6-98ACF801197F}"/>
              </a:ext>
            </a:extLst>
          </p:cNvPr>
          <p:cNvSpPr txBox="1">
            <a:spLocks/>
          </p:cNvSpPr>
          <p:nvPr userDrawn="1"/>
        </p:nvSpPr>
        <p:spPr>
          <a:xfrm>
            <a:off x="438213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8" name="Подзаголовок 2">
            <a:extLst>
              <a:ext uri="{FF2B5EF4-FFF2-40B4-BE49-F238E27FC236}">
                <a16:creationId xmlns:a16="http://schemas.microsoft.com/office/drawing/2014/main" id="{4441DC30-EC1C-0843-A973-61C6A5307218}"/>
              </a:ext>
            </a:extLst>
          </p:cNvPr>
          <p:cNvSpPr txBox="1">
            <a:spLocks/>
          </p:cNvSpPr>
          <p:nvPr userDrawn="1"/>
        </p:nvSpPr>
        <p:spPr>
          <a:xfrm>
            <a:off x="438213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9" name="Подзаголовок 2">
            <a:extLst>
              <a:ext uri="{FF2B5EF4-FFF2-40B4-BE49-F238E27FC236}">
                <a16:creationId xmlns:a16="http://schemas.microsoft.com/office/drawing/2014/main" id="{BD34C5FD-97BD-9B48-93BD-33F356D6AFA7}"/>
              </a:ext>
            </a:extLst>
          </p:cNvPr>
          <p:cNvSpPr txBox="1">
            <a:spLocks/>
          </p:cNvSpPr>
          <p:nvPr userDrawn="1"/>
        </p:nvSpPr>
        <p:spPr>
          <a:xfrm>
            <a:off x="4382134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55</a:t>
            </a:r>
          </a:p>
        </p:txBody>
      </p:sp>
      <p:sp>
        <p:nvSpPr>
          <p:cNvPr id="30" name="Подзаголовок 2">
            <a:extLst>
              <a:ext uri="{FF2B5EF4-FFF2-40B4-BE49-F238E27FC236}">
                <a16:creationId xmlns:a16="http://schemas.microsoft.com/office/drawing/2014/main" id="{8B590F70-B231-B347-8CB3-106E50517972}"/>
              </a:ext>
            </a:extLst>
          </p:cNvPr>
          <p:cNvSpPr txBox="1">
            <a:spLocks/>
          </p:cNvSpPr>
          <p:nvPr userDrawn="1"/>
        </p:nvSpPr>
        <p:spPr>
          <a:xfrm>
            <a:off x="8199755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32" name="Подзаголовок 2">
            <a:extLst>
              <a:ext uri="{FF2B5EF4-FFF2-40B4-BE49-F238E27FC236}">
                <a16:creationId xmlns:a16="http://schemas.microsoft.com/office/drawing/2014/main" id="{17B66FAB-2AAF-054C-984F-5C6B50EB76D6}"/>
              </a:ext>
            </a:extLst>
          </p:cNvPr>
          <p:cNvSpPr txBox="1">
            <a:spLocks/>
          </p:cNvSpPr>
          <p:nvPr userDrawn="1"/>
        </p:nvSpPr>
        <p:spPr>
          <a:xfrm>
            <a:off x="8199754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34" name="Подзаголовок 2">
            <a:extLst>
              <a:ext uri="{FF2B5EF4-FFF2-40B4-BE49-F238E27FC236}">
                <a16:creationId xmlns:a16="http://schemas.microsoft.com/office/drawing/2014/main" id="{587898AD-F455-EA41-B5F1-E2E084BE3ABA}"/>
              </a:ext>
            </a:extLst>
          </p:cNvPr>
          <p:cNvSpPr txBox="1">
            <a:spLocks/>
          </p:cNvSpPr>
          <p:nvPr userDrawn="1"/>
        </p:nvSpPr>
        <p:spPr>
          <a:xfrm>
            <a:off x="8199755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FDC3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31" name="Дата 3">
            <a:extLst>
              <a:ext uri="{FF2B5EF4-FFF2-40B4-BE49-F238E27FC236}">
                <a16:creationId xmlns:a16="http://schemas.microsoft.com/office/drawing/2014/main" id="{665EF726-4E01-D34B-BFA2-AAC9598CDBA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33" name="Номер слайда 5">
            <a:extLst>
              <a:ext uri="{FF2B5EF4-FFF2-40B4-BE49-F238E27FC236}">
                <a16:creationId xmlns:a16="http://schemas.microsoft.com/office/drawing/2014/main" id="{40277004-7AC8-C94E-B8A6-2A02EAAC4A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0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Школа Летово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  |   </a:t>
            </a:r>
            <a:fld id="{3FF7ECCA-52A6-EE4C-AA7E-82FCFCDACFE6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pPr marL="0" marR="0" lvl="0" indent="0" algn="r" defTabSz="9143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ADD1EE8-A50F-46CD-6949-F4175D3BCA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30851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цифрами 5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7542" y="1269603"/>
            <a:ext cx="11243637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58737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605E0600-3D2A-DD43-89F1-7B25870F7A82}"/>
              </a:ext>
            </a:extLst>
          </p:cNvPr>
          <p:cNvSpPr txBox="1">
            <a:spLocks/>
          </p:cNvSpPr>
          <p:nvPr userDrawn="1"/>
        </p:nvSpPr>
        <p:spPr>
          <a:xfrm>
            <a:off x="58737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6" name="Подзаголовок 2">
            <a:extLst>
              <a:ext uri="{FF2B5EF4-FFF2-40B4-BE49-F238E27FC236}">
                <a16:creationId xmlns:a16="http://schemas.microsoft.com/office/drawing/2014/main" id="{5BCF4016-8BFD-8947-A4E7-3D24A7A32E6C}"/>
              </a:ext>
            </a:extLst>
          </p:cNvPr>
          <p:cNvSpPr txBox="1">
            <a:spLocks/>
          </p:cNvSpPr>
          <p:nvPr userDrawn="1"/>
        </p:nvSpPr>
        <p:spPr>
          <a:xfrm>
            <a:off x="587374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A1003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18" name="Подзаголовок 2">
            <a:extLst>
              <a:ext uri="{FF2B5EF4-FFF2-40B4-BE49-F238E27FC236}">
                <a16:creationId xmlns:a16="http://schemas.microsoft.com/office/drawing/2014/main" id="{00126CB7-73AB-934B-9EE3-C5C5CD6E4571}"/>
              </a:ext>
            </a:extLst>
          </p:cNvPr>
          <p:cNvSpPr txBox="1">
            <a:spLocks/>
          </p:cNvSpPr>
          <p:nvPr userDrawn="1"/>
        </p:nvSpPr>
        <p:spPr>
          <a:xfrm>
            <a:off x="438213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19" name="Подзаголовок 2">
            <a:extLst>
              <a:ext uri="{FF2B5EF4-FFF2-40B4-BE49-F238E27FC236}">
                <a16:creationId xmlns:a16="http://schemas.microsoft.com/office/drawing/2014/main" id="{26EC1276-96E4-D547-9CBE-9FC7D100D3A8}"/>
              </a:ext>
            </a:extLst>
          </p:cNvPr>
          <p:cNvSpPr txBox="1">
            <a:spLocks/>
          </p:cNvSpPr>
          <p:nvPr userDrawn="1"/>
        </p:nvSpPr>
        <p:spPr>
          <a:xfrm>
            <a:off x="438213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0" name="Подзаголовок 2">
            <a:extLst>
              <a:ext uri="{FF2B5EF4-FFF2-40B4-BE49-F238E27FC236}">
                <a16:creationId xmlns:a16="http://schemas.microsoft.com/office/drawing/2014/main" id="{DB2C8B15-EA6F-0E47-8769-3883A7FFE66E}"/>
              </a:ext>
            </a:extLst>
          </p:cNvPr>
          <p:cNvSpPr txBox="1">
            <a:spLocks/>
          </p:cNvSpPr>
          <p:nvPr userDrawn="1"/>
        </p:nvSpPr>
        <p:spPr>
          <a:xfrm>
            <a:off x="4382134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A1003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55</a:t>
            </a:r>
          </a:p>
        </p:txBody>
      </p:sp>
      <p:sp>
        <p:nvSpPr>
          <p:cNvPr id="21" name="Подзаголовок 2">
            <a:extLst>
              <a:ext uri="{FF2B5EF4-FFF2-40B4-BE49-F238E27FC236}">
                <a16:creationId xmlns:a16="http://schemas.microsoft.com/office/drawing/2014/main" id="{FF420C79-6F94-414E-82C9-D88CBE0CD630}"/>
              </a:ext>
            </a:extLst>
          </p:cNvPr>
          <p:cNvSpPr txBox="1">
            <a:spLocks/>
          </p:cNvSpPr>
          <p:nvPr userDrawn="1"/>
        </p:nvSpPr>
        <p:spPr>
          <a:xfrm>
            <a:off x="8199755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2" name="Подзаголовок 2">
            <a:extLst>
              <a:ext uri="{FF2B5EF4-FFF2-40B4-BE49-F238E27FC236}">
                <a16:creationId xmlns:a16="http://schemas.microsoft.com/office/drawing/2014/main" id="{7F82D417-9A1A-FF49-95C4-C7E49B1327F4}"/>
              </a:ext>
            </a:extLst>
          </p:cNvPr>
          <p:cNvSpPr txBox="1">
            <a:spLocks/>
          </p:cNvSpPr>
          <p:nvPr userDrawn="1"/>
        </p:nvSpPr>
        <p:spPr>
          <a:xfrm>
            <a:off x="8199754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3" name="Подзаголовок 2">
            <a:extLst>
              <a:ext uri="{FF2B5EF4-FFF2-40B4-BE49-F238E27FC236}">
                <a16:creationId xmlns:a16="http://schemas.microsoft.com/office/drawing/2014/main" id="{1729DECF-ACAF-B544-AECF-2708159B7FAA}"/>
              </a:ext>
            </a:extLst>
          </p:cNvPr>
          <p:cNvSpPr txBox="1">
            <a:spLocks/>
          </p:cNvSpPr>
          <p:nvPr userDrawn="1"/>
        </p:nvSpPr>
        <p:spPr>
          <a:xfrm>
            <a:off x="8199755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A1003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24" name="Подзаголовок 2">
            <a:extLst>
              <a:ext uri="{FF2B5EF4-FFF2-40B4-BE49-F238E27FC236}">
                <a16:creationId xmlns:a16="http://schemas.microsoft.com/office/drawing/2014/main" id="{2EAE8651-F66C-7747-9DED-671C41731072}"/>
              </a:ext>
            </a:extLst>
          </p:cNvPr>
          <p:cNvSpPr txBox="1">
            <a:spLocks/>
          </p:cNvSpPr>
          <p:nvPr userDrawn="1"/>
        </p:nvSpPr>
        <p:spPr>
          <a:xfrm>
            <a:off x="58737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5" name="Подзаголовок 2">
            <a:extLst>
              <a:ext uri="{FF2B5EF4-FFF2-40B4-BE49-F238E27FC236}">
                <a16:creationId xmlns:a16="http://schemas.microsoft.com/office/drawing/2014/main" id="{9F22FECE-96CF-104D-A050-09965E3A3AA5}"/>
              </a:ext>
            </a:extLst>
          </p:cNvPr>
          <p:cNvSpPr txBox="1">
            <a:spLocks/>
          </p:cNvSpPr>
          <p:nvPr userDrawn="1"/>
        </p:nvSpPr>
        <p:spPr>
          <a:xfrm>
            <a:off x="58737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6" name="Подзаголовок 2">
            <a:extLst>
              <a:ext uri="{FF2B5EF4-FFF2-40B4-BE49-F238E27FC236}">
                <a16:creationId xmlns:a16="http://schemas.microsoft.com/office/drawing/2014/main" id="{117CF62B-9050-B649-9A9A-2A3D45E8CCAC}"/>
              </a:ext>
            </a:extLst>
          </p:cNvPr>
          <p:cNvSpPr txBox="1">
            <a:spLocks/>
          </p:cNvSpPr>
          <p:nvPr userDrawn="1"/>
        </p:nvSpPr>
        <p:spPr>
          <a:xfrm>
            <a:off x="587374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A1003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27" name="Подзаголовок 2">
            <a:extLst>
              <a:ext uri="{FF2B5EF4-FFF2-40B4-BE49-F238E27FC236}">
                <a16:creationId xmlns:a16="http://schemas.microsoft.com/office/drawing/2014/main" id="{7E4B519D-0E38-7040-9DF6-98ACF801197F}"/>
              </a:ext>
            </a:extLst>
          </p:cNvPr>
          <p:cNvSpPr txBox="1">
            <a:spLocks/>
          </p:cNvSpPr>
          <p:nvPr userDrawn="1"/>
        </p:nvSpPr>
        <p:spPr>
          <a:xfrm>
            <a:off x="438213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8" name="Подзаголовок 2">
            <a:extLst>
              <a:ext uri="{FF2B5EF4-FFF2-40B4-BE49-F238E27FC236}">
                <a16:creationId xmlns:a16="http://schemas.microsoft.com/office/drawing/2014/main" id="{4441DC30-EC1C-0843-A973-61C6A5307218}"/>
              </a:ext>
            </a:extLst>
          </p:cNvPr>
          <p:cNvSpPr txBox="1">
            <a:spLocks/>
          </p:cNvSpPr>
          <p:nvPr userDrawn="1"/>
        </p:nvSpPr>
        <p:spPr>
          <a:xfrm>
            <a:off x="438213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9" name="Подзаголовок 2">
            <a:extLst>
              <a:ext uri="{FF2B5EF4-FFF2-40B4-BE49-F238E27FC236}">
                <a16:creationId xmlns:a16="http://schemas.microsoft.com/office/drawing/2014/main" id="{BD34C5FD-97BD-9B48-93BD-33F356D6AFA7}"/>
              </a:ext>
            </a:extLst>
          </p:cNvPr>
          <p:cNvSpPr txBox="1">
            <a:spLocks/>
          </p:cNvSpPr>
          <p:nvPr userDrawn="1"/>
        </p:nvSpPr>
        <p:spPr>
          <a:xfrm>
            <a:off x="4382134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A1003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55</a:t>
            </a:r>
          </a:p>
        </p:txBody>
      </p:sp>
      <p:sp>
        <p:nvSpPr>
          <p:cNvPr id="30" name="Подзаголовок 2">
            <a:extLst>
              <a:ext uri="{FF2B5EF4-FFF2-40B4-BE49-F238E27FC236}">
                <a16:creationId xmlns:a16="http://schemas.microsoft.com/office/drawing/2014/main" id="{8B590F70-B231-B347-8CB3-106E50517972}"/>
              </a:ext>
            </a:extLst>
          </p:cNvPr>
          <p:cNvSpPr txBox="1">
            <a:spLocks/>
          </p:cNvSpPr>
          <p:nvPr userDrawn="1"/>
        </p:nvSpPr>
        <p:spPr>
          <a:xfrm>
            <a:off x="8199755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32" name="Подзаголовок 2">
            <a:extLst>
              <a:ext uri="{FF2B5EF4-FFF2-40B4-BE49-F238E27FC236}">
                <a16:creationId xmlns:a16="http://schemas.microsoft.com/office/drawing/2014/main" id="{17B66FAB-2AAF-054C-984F-5C6B50EB76D6}"/>
              </a:ext>
            </a:extLst>
          </p:cNvPr>
          <p:cNvSpPr txBox="1">
            <a:spLocks/>
          </p:cNvSpPr>
          <p:nvPr userDrawn="1"/>
        </p:nvSpPr>
        <p:spPr>
          <a:xfrm>
            <a:off x="8199754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34" name="Подзаголовок 2">
            <a:extLst>
              <a:ext uri="{FF2B5EF4-FFF2-40B4-BE49-F238E27FC236}">
                <a16:creationId xmlns:a16="http://schemas.microsoft.com/office/drawing/2014/main" id="{587898AD-F455-EA41-B5F1-E2E084BE3ABA}"/>
              </a:ext>
            </a:extLst>
          </p:cNvPr>
          <p:cNvSpPr txBox="1">
            <a:spLocks/>
          </p:cNvSpPr>
          <p:nvPr userDrawn="1"/>
        </p:nvSpPr>
        <p:spPr>
          <a:xfrm>
            <a:off x="8199755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A1003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31" name="Дата 3">
            <a:extLst>
              <a:ext uri="{FF2B5EF4-FFF2-40B4-BE49-F238E27FC236}">
                <a16:creationId xmlns:a16="http://schemas.microsoft.com/office/drawing/2014/main" id="{455D0826-ECCA-E245-893A-FC2CEB4C27C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defTabSz="914300">
              <a:defRPr/>
            </a:pPr>
            <a:endParaRPr lang="ru-RU" dirty="0"/>
          </a:p>
        </p:txBody>
      </p:sp>
      <p:sp>
        <p:nvSpPr>
          <p:cNvPr id="33" name="Номер слайда 5">
            <a:extLst>
              <a:ext uri="{FF2B5EF4-FFF2-40B4-BE49-F238E27FC236}">
                <a16:creationId xmlns:a16="http://schemas.microsoft.com/office/drawing/2014/main" id="{BE88994E-1E50-A348-9027-EEB1FB1BCB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0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algn="r" defTabSz="914300">
              <a:defRPr/>
            </a:pPr>
            <a:r>
              <a:rPr lang="ru-RU"/>
              <a:t>Школа Летово</a:t>
            </a:r>
            <a:r>
              <a:rPr lang="en-US"/>
              <a:t>   |   </a:t>
            </a:r>
            <a:fld id="{3FF7ECCA-52A6-EE4C-AA7E-82FCFCDACFE6}" type="slidenum">
              <a:rPr lang="ru-RU" smtClean="0"/>
              <a:pPr algn="r" defTabSz="914300">
                <a:defRPr/>
              </a:pPr>
              <a:t>‹#›</a:t>
            </a:fld>
            <a:endParaRPr lang="ru-RU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7EF0E3C-6F09-C112-AD6D-FE7ACCECC9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57797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Слайд с иконками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984361"/>
            <a:ext cx="11229394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43" name="Дата 3">
            <a:extLst>
              <a:ext uri="{FF2B5EF4-FFF2-40B4-BE49-F238E27FC236}">
                <a16:creationId xmlns:a16="http://schemas.microsoft.com/office/drawing/2014/main" id="{189D5AC6-287E-7940-957B-B484CF6851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62BA59-6059-B946-B600-36422AECED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1400" y="2767173"/>
            <a:ext cx="2782887" cy="29845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33EF2456-3284-519B-DAC4-D09124B095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58330" y="2773110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kern="0" baseline="0" dirty="0">
                <a:solidFill>
                  <a:schemeClr val="tx1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DC16B25D-4B3A-AF52-1B0D-3E4CB69C59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84448" y="2782405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kern="0" baseline="0" dirty="0">
                <a:solidFill>
                  <a:schemeClr val="tx1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FDA216FA-EABD-3095-53C0-9718D873E55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1400" y="5063371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kern="0" baseline="0" dirty="0">
                <a:solidFill>
                  <a:schemeClr val="tx1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A4F4305A-7E84-6907-E906-6F52C4BD2A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58330" y="5069308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kern="0" baseline="0" dirty="0">
                <a:solidFill>
                  <a:schemeClr val="tx1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7A412ED6-00B7-E87B-F6B8-260C4D08B4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84448" y="5078603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kern="0" baseline="0" dirty="0">
                <a:solidFill>
                  <a:schemeClr val="tx1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23" name="Номер слайда 5">
            <a:extLst>
              <a:ext uri="{FF2B5EF4-FFF2-40B4-BE49-F238E27FC236}">
                <a16:creationId xmlns:a16="http://schemas.microsoft.com/office/drawing/2014/main" id="{6053D1E8-92C1-BA71-D947-B0E565F68583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lvl="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DE4D03F-0F2C-B0BE-8D23-5962297D27E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91228" y="3077746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ru-RU" sz="1400" dirty="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DC3BD9A-5C0F-020B-D53D-DB5F0A87FBB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65408" y="3086534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kern="0" baseline="0" dirty="0">
                <a:solidFill>
                  <a:srgbClr val="000000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6D0BC1A-3E0E-F1B6-EB49-50F61FE1621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84448" y="3095876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kern="0" baseline="0" dirty="0" err="1">
                <a:solidFill>
                  <a:srgbClr val="000000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0F7F8A2-8212-1CCD-CD0B-6A4FCBFED0E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84448" y="5377524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kern="0" baseline="0" dirty="0">
                <a:solidFill>
                  <a:srgbClr val="000000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1C7A343-2C0C-4451-A71F-20ED2730AFE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1228" y="5377283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82278F2-DF5E-6041-0BB0-140E9379198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58330" y="5377283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87694FC4-CFA4-43A3-9CE2-ABACC553D8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61288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91DE94B5-3848-D48B-D212-F9699A13456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91228" y="1582944"/>
            <a:ext cx="1068028" cy="1176498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13183645-B6A3-E639-F6EF-EC7F29FCF080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4265408" y="1582944"/>
            <a:ext cx="1068028" cy="1176498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62D8CB25-36E2-F903-7EAD-457106D47AD8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8073745" y="1582944"/>
            <a:ext cx="1068028" cy="1176498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ED11A332-61D4-8166-17D9-890B2F567274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97912" y="3886873"/>
            <a:ext cx="1068028" cy="1176498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814D2759-D644-06EA-D2D1-F5B5B7D8A78C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4258330" y="3886873"/>
            <a:ext cx="1068028" cy="1176498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3F310BFE-5326-C398-9FC6-00C794DEDA39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8077616" y="3886873"/>
            <a:ext cx="1068028" cy="1176498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07047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иконками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984361"/>
            <a:ext cx="11229394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43" name="Дата 3">
            <a:extLst>
              <a:ext uri="{FF2B5EF4-FFF2-40B4-BE49-F238E27FC236}">
                <a16:creationId xmlns:a16="http://schemas.microsoft.com/office/drawing/2014/main" id="{189D5AC6-287E-7940-957B-B484CF6851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62BA59-6059-B946-B600-36422AECED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1400" y="2767173"/>
            <a:ext cx="2782887" cy="29845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33EF2456-3284-519B-DAC4-D09124B095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58330" y="2773110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DC16B25D-4B3A-AF52-1B0D-3E4CB69C59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84448" y="2782405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FDA216FA-EABD-3095-53C0-9718D873E55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1400" y="5063371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A4F4305A-7E84-6907-E906-6F52C4BD2A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58330" y="5069308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7A412ED6-00B7-E87B-F6B8-260C4D08B4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84448" y="5078603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23" name="Номер слайда 5">
            <a:extLst>
              <a:ext uri="{FF2B5EF4-FFF2-40B4-BE49-F238E27FC236}">
                <a16:creationId xmlns:a16="http://schemas.microsoft.com/office/drawing/2014/main" id="{6053D1E8-92C1-BA71-D947-B0E565F68583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lvl="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DE4D03F-0F2C-B0BE-8D23-5962297D27E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91228" y="3077746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ru-RU" sz="1400" dirty="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DC3BD9A-5C0F-020B-D53D-DB5F0A87FBB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65408" y="3086534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6D0BC1A-3E0E-F1B6-EB49-50F61FE1621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84448" y="3095876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0F7F8A2-8212-1CCD-CD0B-6A4FCBFED0E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84448" y="5377524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1C7A343-2C0C-4451-A71F-20ED2730AFE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1228" y="5377283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82278F2-DF5E-6041-0BB0-140E9379198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58330" y="5377283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87694FC4-CFA4-43A3-9CE2-ABACC553D8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61288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24330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иконками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Овал 30">
            <a:extLst>
              <a:ext uri="{FF2B5EF4-FFF2-40B4-BE49-F238E27FC236}">
                <a16:creationId xmlns:a16="http://schemas.microsoft.com/office/drawing/2014/main" id="{A758A63C-F6EA-8C48-BAEF-E89342F1355C}"/>
              </a:ext>
            </a:extLst>
          </p:cNvPr>
          <p:cNvSpPr>
            <a:spLocks noChangeAspect="1"/>
          </p:cNvSpPr>
          <p:nvPr userDrawn="1"/>
        </p:nvSpPr>
        <p:spPr>
          <a:xfrm>
            <a:off x="599884" y="1565464"/>
            <a:ext cx="1080000" cy="1080000"/>
          </a:xfrm>
          <a:prstGeom prst="ellipse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E00EAD5D-1181-6443-88E6-B9DE32FBA2BC}"/>
              </a:ext>
            </a:extLst>
          </p:cNvPr>
          <p:cNvSpPr>
            <a:spLocks noChangeAspect="1"/>
          </p:cNvSpPr>
          <p:nvPr userDrawn="1"/>
        </p:nvSpPr>
        <p:spPr>
          <a:xfrm>
            <a:off x="4381471" y="1565464"/>
            <a:ext cx="1080000" cy="1080000"/>
          </a:xfrm>
          <a:prstGeom prst="ellipse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" name="Овал 33">
            <a:extLst>
              <a:ext uri="{FF2B5EF4-FFF2-40B4-BE49-F238E27FC236}">
                <a16:creationId xmlns:a16="http://schemas.microsoft.com/office/drawing/2014/main" id="{2A11C87F-2338-9549-8466-CC6946F7AC5C}"/>
              </a:ext>
            </a:extLst>
          </p:cNvPr>
          <p:cNvSpPr>
            <a:spLocks noChangeAspect="1"/>
          </p:cNvSpPr>
          <p:nvPr userDrawn="1"/>
        </p:nvSpPr>
        <p:spPr>
          <a:xfrm>
            <a:off x="8194054" y="1565464"/>
            <a:ext cx="1080000" cy="1080000"/>
          </a:xfrm>
          <a:prstGeom prst="ellipse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6" name="Овал 35">
            <a:extLst>
              <a:ext uri="{FF2B5EF4-FFF2-40B4-BE49-F238E27FC236}">
                <a16:creationId xmlns:a16="http://schemas.microsoft.com/office/drawing/2014/main" id="{73142CB0-9E9B-D245-AA00-8E1D2CA818B8}"/>
              </a:ext>
            </a:extLst>
          </p:cNvPr>
          <p:cNvSpPr>
            <a:spLocks noChangeAspect="1"/>
          </p:cNvSpPr>
          <p:nvPr userDrawn="1"/>
        </p:nvSpPr>
        <p:spPr>
          <a:xfrm>
            <a:off x="599884" y="3936701"/>
            <a:ext cx="1080000" cy="1080000"/>
          </a:xfrm>
          <a:prstGeom prst="ellipse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7" name="Овал 36">
            <a:extLst>
              <a:ext uri="{FF2B5EF4-FFF2-40B4-BE49-F238E27FC236}">
                <a16:creationId xmlns:a16="http://schemas.microsoft.com/office/drawing/2014/main" id="{44061F68-E4A1-E640-A633-22BF740D6777}"/>
              </a:ext>
            </a:extLst>
          </p:cNvPr>
          <p:cNvSpPr>
            <a:spLocks noChangeAspect="1"/>
          </p:cNvSpPr>
          <p:nvPr userDrawn="1"/>
        </p:nvSpPr>
        <p:spPr>
          <a:xfrm>
            <a:off x="4381471" y="3936701"/>
            <a:ext cx="1080000" cy="1080000"/>
          </a:xfrm>
          <a:prstGeom prst="ellipse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9" name="Овал 38">
            <a:extLst>
              <a:ext uri="{FF2B5EF4-FFF2-40B4-BE49-F238E27FC236}">
                <a16:creationId xmlns:a16="http://schemas.microsoft.com/office/drawing/2014/main" id="{C5E3ED02-D5C6-C94C-BE7F-829095B00B8D}"/>
              </a:ext>
            </a:extLst>
          </p:cNvPr>
          <p:cNvSpPr>
            <a:spLocks noChangeAspect="1"/>
          </p:cNvSpPr>
          <p:nvPr userDrawn="1"/>
        </p:nvSpPr>
        <p:spPr>
          <a:xfrm>
            <a:off x="8194054" y="3936701"/>
            <a:ext cx="1080000" cy="1080000"/>
          </a:xfrm>
          <a:prstGeom prst="ellipse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974307"/>
            <a:ext cx="11243637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587374" y="2707456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605E0600-3D2A-DD43-89F1-7B25870F7A82}"/>
              </a:ext>
            </a:extLst>
          </p:cNvPr>
          <p:cNvSpPr txBox="1">
            <a:spLocks/>
          </p:cNvSpPr>
          <p:nvPr userDrawn="1"/>
        </p:nvSpPr>
        <p:spPr>
          <a:xfrm>
            <a:off x="587375" y="2965755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8" name="Подзаголовок 2">
            <a:extLst>
              <a:ext uri="{FF2B5EF4-FFF2-40B4-BE49-F238E27FC236}">
                <a16:creationId xmlns:a16="http://schemas.microsoft.com/office/drawing/2014/main" id="{00126CB7-73AB-934B-9EE3-C5C5CD6E4571}"/>
              </a:ext>
            </a:extLst>
          </p:cNvPr>
          <p:cNvSpPr txBox="1">
            <a:spLocks/>
          </p:cNvSpPr>
          <p:nvPr userDrawn="1"/>
        </p:nvSpPr>
        <p:spPr>
          <a:xfrm>
            <a:off x="4382134" y="2707456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19" name="Подзаголовок 2">
            <a:extLst>
              <a:ext uri="{FF2B5EF4-FFF2-40B4-BE49-F238E27FC236}">
                <a16:creationId xmlns:a16="http://schemas.microsoft.com/office/drawing/2014/main" id="{26EC1276-96E4-D547-9CBE-9FC7D100D3A8}"/>
              </a:ext>
            </a:extLst>
          </p:cNvPr>
          <p:cNvSpPr txBox="1">
            <a:spLocks/>
          </p:cNvSpPr>
          <p:nvPr userDrawn="1"/>
        </p:nvSpPr>
        <p:spPr>
          <a:xfrm>
            <a:off x="4382135" y="2965755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1" name="Подзаголовок 2">
            <a:extLst>
              <a:ext uri="{FF2B5EF4-FFF2-40B4-BE49-F238E27FC236}">
                <a16:creationId xmlns:a16="http://schemas.microsoft.com/office/drawing/2014/main" id="{FF420C79-6F94-414E-82C9-D88CBE0CD630}"/>
              </a:ext>
            </a:extLst>
          </p:cNvPr>
          <p:cNvSpPr txBox="1">
            <a:spLocks/>
          </p:cNvSpPr>
          <p:nvPr userDrawn="1"/>
        </p:nvSpPr>
        <p:spPr>
          <a:xfrm>
            <a:off x="8199755" y="2707456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2" name="Подзаголовок 2">
            <a:extLst>
              <a:ext uri="{FF2B5EF4-FFF2-40B4-BE49-F238E27FC236}">
                <a16:creationId xmlns:a16="http://schemas.microsoft.com/office/drawing/2014/main" id="{7F82D417-9A1A-FF49-95C4-C7E49B1327F4}"/>
              </a:ext>
            </a:extLst>
          </p:cNvPr>
          <p:cNvSpPr txBox="1">
            <a:spLocks/>
          </p:cNvSpPr>
          <p:nvPr userDrawn="1"/>
        </p:nvSpPr>
        <p:spPr>
          <a:xfrm>
            <a:off x="8199754" y="2965755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4" name="Подзаголовок 2">
            <a:extLst>
              <a:ext uri="{FF2B5EF4-FFF2-40B4-BE49-F238E27FC236}">
                <a16:creationId xmlns:a16="http://schemas.microsoft.com/office/drawing/2014/main" id="{2EAE8651-F66C-7747-9DED-671C41731072}"/>
              </a:ext>
            </a:extLst>
          </p:cNvPr>
          <p:cNvSpPr txBox="1">
            <a:spLocks/>
          </p:cNvSpPr>
          <p:nvPr userDrawn="1"/>
        </p:nvSpPr>
        <p:spPr>
          <a:xfrm>
            <a:off x="587374" y="5106010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5" name="Подзаголовок 2">
            <a:extLst>
              <a:ext uri="{FF2B5EF4-FFF2-40B4-BE49-F238E27FC236}">
                <a16:creationId xmlns:a16="http://schemas.microsoft.com/office/drawing/2014/main" id="{9F22FECE-96CF-104D-A050-09965E3A3AA5}"/>
              </a:ext>
            </a:extLst>
          </p:cNvPr>
          <p:cNvSpPr txBox="1">
            <a:spLocks/>
          </p:cNvSpPr>
          <p:nvPr userDrawn="1"/>
        </p:nvSpPr>
        <p:spPr>
          <a:xfrm>
            <a:off x="587375" y="5364309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7" name="Подзаголовок 2">
            <a:extLst>
              <a:ext uri="{FF2B5EF4-FFF2-40B4-BE49-F238E27FC236}">
                <a16:creationId xmlns:a16="http://schemas.microsoft.com/office/drawing/2014/main" id="{7E4B519D-0E38-7040-9DF6-98ACF801197F}"/>
              </a:ext>
            </a:extLst>
          </p:cNvPr>
          <p:cNvSpPr txBox="1">
            <a:spLocks/>
          </p:cNvSpPr>
          <p:nvPr userDrawn="1"/>
        </p:nvSpPr>
        <p:spPr>
          <a:xfrm>
            <a:off x="4382134" y="5106010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8" name="Подзаголовок 2">
            <a:extLst>
              <a:ext uri="{FF2B5EF4-FFF2-40B4-BE49-F238E27FC236}">
                <a16:creationId xmlns:a16="http://schemas.microsoft.com/office/drawing/2014/main" id="{4441DC30-EC1C-0843-A973-61C6A5307218}"/>
              </a:ext>
            </a:extLst>
          </p:cNvPr>
          <p:cNvSpPr txBox="1">
            <a:spLocks/>
          </p:cNvSpPr>
          <p:nvPr userDrawn="1"/>
        </p:nvSpPr>
        <p:spPr>
          <a:xfrm>
            <a:off x="4382135" y="5364309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30" name="Подзаголовок 2">
            <a:extLst>
              <a:ext uri="{FF2B5EF4-FFF2-40B4-BE49-F238E27FC236}">
                <a16:creationId xmlns:a16="http://schemas.microsoft.com/office/drawing/2014/main" id="{8B590F70-B231-B347-8CB3-106E50517972}"/>
              </a:ext>
            </a:extLst>
          </p:cNvPr>
          <p:cNvSpPr txBox="1">
            <a:spLocks/>
          </p:cNvSpPr>
          <p:nvPr userDrawn="1"/>
        </p:nvSpPr>
        <p:spPr>
          <a:xfrm>
            <a:off x="8199755" y="5106010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32" name="Подзаголовок 2">
            <a:extLst>
              <a:ext uri="{FF2B5EF4-FFF2-40B4-BE49-F238E27FC236}">
                <a16:creationId xmlns:a16="http://schemas.microsoft.com/office/drawing/2014/main" id="{17B66FAB-2AAF-054C-984F-5C6B50EB76D6}"/>
              </a:ext>
            </a:extLst>
          </p:cNvPr>
          <p:cNvSpPr txBox="1">
            <a:spLocks/>
          </p:cNvSpPr>
          <p:nvPr userDrawn="1"/>
        </p:nvSpPr>
        <p:spPr>
          <a:xfrm>
            <a:off x="8199754" y="5364309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A4C45C05-8E9F-E84F-AD90-71248208B9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184629" y="1564332"/>
            <a:ext cx="1080000" cy="1080000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B828A1FF-F8E5-9C4E-AD1D-16A22A0F275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7213" y="1568396"/>
            <a:ext cx="1080000" cy="1080000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A6B286A8-9DA2-504B-8EE6-F0918A6D997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192392" y="3935084"/>
            <a:ext cx="1080000" cy="1080000"/>
          </a:xfrm>
          <a:prstGeom prst="rect">
            <a:avLst/>
          </a:prstGeom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4907C846-1E57-244F-B9A9-1E9DBEBF7FE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99884" y="3946747"/>
            <a:ext cx="1080000" cy="1080000"/>
          </a:xfrm>
          <a:prstGeom prst="rect">
            <a:avLst/>
          </a:prstGeom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23974747-E80D-AA46-BD0C-4B7A1060457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378396" y="3954719"/>
            <a:ext cx="1080000" cy="1080000"/>
          </a:xfrm>
          <a:prstGeom prst="rect">
            <a:avLst/>
          </a:prstGeom>
        </p:spPr>
      </p:pic>
      <p:sp>
        <p:nvSpPr>
          <p:cNvPr id="26" name="Дата 3">
            <a:extLst>
              <a:ext uri="{FF2B5EF4-FFF2-40B4-BE49-F238E27FC236}">
                <a16:creationId xmlns:a16="http://schemas.microsoft.com/office/drawing/2014/main" id="{C30DD76B-EA27-4643-9E1B-5F008F2EA8A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9" name="Номер слайда 5">
            <a:extLst>
              <a:ext uri="{FF2B5EF4-FFF2-40B4-BE49-F238E27FC236}">
                <a16:creationId xmlns:a16="http://schemas.microsoft.com/office/drawing/2014/main" id="{3CC0A341-86DD-384E-8B24-49A0755483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0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Школа Летово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  |   </a:t>
            </a:r>
            <a:fld id="{3FF7ECCA-52A6-EE4C-AA7E-82FCFCDACFE6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pPr marL="0" marR="0" lvl="0" indent="0" algn="r" defTabSz="9143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CE93761A-AAAC-FA40-ACDC-E85EF17A436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87375" y="1563707"/>
            <a:ext cx="1080000" cy="1080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C4968C7B-FDCC-DEC8-23B1-03D47E52D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6030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20010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иконками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974307"/>
            <a:ext cx="11243637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58737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605E0600-3D2A-DD43-89F1-7B25870F7A82}"/>
              </a:ext>
            </a:extLst>
          </p:cNvPr>
          <p:cNvSpPr txBox="1">
            <a:spLocks/>
          </p:cNvSpPr>
          <p:nvPr userDrawn="1"/>
        </p:nvSpPr>
        <p:spPr>
          <a:xfrm>
            <a:off x="58737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8" name="Подзаголовок 2">
            <a:extLst>
              <a:ext uri="{FF2B5EF4-FFF2-40B4-BE49-F238E27FC236}">
                <a16:creationId xmlns:a16="http://schemas.microsoft.com/office/drawing/2014/main" id="{00126CB7-73AB-934B-9EE3-C5C5CD6E4571}"/>
              </a:ext>
            </a:extLst>
          </p:cNvPr>
          <p:cNvSpPr txBox="1">
            <a:spLocks/>
          </p:cNvSpPr>
          <p:nvPr userDrawn="1"/>
        </p:nvSpPr>
        <p:spPr>
          <a:xfrm>
            <a:off x="438213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19" name="Подзаголовок 2">
            <a:extLst>
              <a:ext uri="{FF2B5EF4-FFF2-40B4-BE49-F238E27FC236}">
                <a16:creationId xmlns:a16="http://schemas.microsoft.com/office/drawing/2014/main" id="{26EC1276-96E4-D547-9CBE-9FC7D100D3A8}"/>
              </a:ext>
            </a:extLst>
          </p:cNvPr>
          <p:cNvSpPr txBox="1">
            <a:spLocks/>
          </p:cNvSpPr>
          <p:nvPr userDrawn="1"/>
        </p:nvSpPr>
        <p:spPr>
          <a:xfrm>
            <a:off x="438213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1" name="Подзаголовок 2">
            <a:extLst>
              <a:ext uri="{FF2B5EF4-FFF2-40B4-BE49-F238E27FC236}">
                <a16:creationId xmlns:a16="http://schemas.microsoft.com/office/drawing/2014/main" id="{FF420C79-6F94-414E-82C9-D88CBE0CD630}"/>
              </a:ext>
            </a:extLst>
          </p:cNvPr>
          <p:cNvSpPr txBox="1">
            <a:spLocks/>
          </p:cNvSpPr>
          <p:nvPr userDrawn="1"/>
        </p:nvSpPr>
        <p:spPr>
          <a:xfrm>
            <a:off x="8199755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2" name="Подзаголовок 2">
            <a:extLst>
              <a:ext uri="{FF2B5EF4-FFF2-40B4-BE49-F238E27FC236}">
                <a16:creationId xmlns:a16="http://schemas.microsoft.com/office/drawing/2014/main" id="{7F82D417-9A1A-FF49-95C4-C7E49B1327F4}"/>
              </a:ext>
            </a:extLst>
          </p:cNvPr>
          <p:cNvSpPr txBox="1">
            <a:spLocks/>
          </p:cNvSpPr>
          <p:nvPr userDrawn="1"/>
        </p:nvSpPr>
        <p:spPr>
          <a:xfrm>
            <a:off x="8199754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4" name="Подзаголовок 2">
            <a:extLst>
              <a:ext uri="{FF2B5EF4-FFF2-40B4-BE49-F238E27FC236}">
                <a16:creationId xmlns:a16="http://schemas.microsoft.com/office/drawing/2014/main" id="{2EAE8651-F66C-7747-9DED-671C41731072}"/>
              </a:ext>
            </a:extLst>
          </p:cNvPr>
          <p:cNvSpPr txBox="1">
            <a:spLocks/>
          </p:cNvSpPr>
          <p:nvPr userDrawn="1"/>
        </p:nvSpPr>
        <p:spPr>
          <a:xfrm>
            <a:off x="58737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5" name="Подзаголовок 2">
            <a:extLst>
              <a:ext uri="{FF2B5EF4-FFF2-40B4-BE49-F238E27FC236}">
                <a16:creationId xmlns:a16="http://schemas.microsoft.com/office/drawing/2014/main" id="{9F22FECE-96CF-104D-A050-09965E3A3AA5}"/>
              </a:ext>
            </a:extLst>
          </p:cNvPr>
          <p:cNvSpPr txBox="1">
            <a:spLocks/>
          </p:cNvSpPr>
          <p:nvPr userDrawn="1"/>
        </p:nvSpPr>
        <p:spPr>
          <a:xfrm>
            <a:off x="58737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7" name="Подзаголовок 2">
            <a:extLst>
              <a:ext uri="{FF2B5EF4-FFF2-40B4-BE49-F238E27FC236}">
                <a16:creationId xmlns:a16="http://schemas.microsoft.com/office/drawing/2014/main" id="{7E4B519D-0E38-7040-9DF6-98ACF801197F}"/>
              </a:ext>
            </a:extLst>
          </p:cNvPr>
          <p:cNvSpPr txBox="1">
            <a:spLocks/>
          </p:cNvSpPr>
          <p:nvPr userDrawn="1"/>
        </p:nvSpPr>
        <p:spPr>
          <a:xfrm>
            <a:off x="438213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8" name="Подзаголовок 2">
            <a:extLst>
              <a:ext uri="{FF2B5EF4-FFF2-40B4-BE49-F238E27FC236}">
                <a16:creationId xmlns:a16="http://schemas.microsoft.com/office/drawing/2014/main" id="{4441DC30-EC1C-0843-A973-61C6A5307218}"/>
              </a:ext>
            </a:extLst>
          </p:cNvPr>
          <p:cNvSpPr txBox="1">
            <a:spLocks/>
          </p:cNvSpPr>
          <p:nvPr userDrawn="1"/>
        </p:nvSpPr>
        <p:spPr>
          <a:xfrm>
            <a:off x="438213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30" name="Подзаголовок 2">
            <a:extLst>
              <a:ext uri="{FF2B5EF4-FFF2-40B4-BE49-F238E27FC236}">
                <a16:creationId xmlns:a16="http://schemas.microsoft.com/office/drawing/2014/main" id="{8B590F70-B231-B347-8CB3-106E50517972}"/>
              </a:ext>
            </a:extLst>
          </p:cNvPr>
          <p:cNvSpPr txBox="1">
            <a:spLocks/>
          </p:cNvSpPr>
          <p:nvPr userDrawn="1"/>
        </p:nvSpPr>
        <p:spPr>
          <a:xfrm>
            <a:off x="8199755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32" name="Подзаголовок 2">
            <a:extLst>
              <a:ext uri="{FF2B5EF4-FFF2-40B4-BE49-F238E27FC236}">
                <a16:creationId xmlns:a16="http://schemas.microsoft.com/office/drawing/2014/main" id="{17B66FAB-2AAF-054C-984F-5C6B50EB76D6}"/>
              </a:ext>
            </a:extLst>
          </p:cNvPr>
          <p:cNvSpPr txBox="1">
            <a:spLocks/>
          </p:cNvSpPr>
          <p:nvPr userDrawn="1"/>
        </p:nvSpPr>
        <p:spPr>
          <a:xfrm>
            <a:off x="8199754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A4C45C05-8E9F-E84F-AD90-71248208B9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184629" y="1548512"/>
            <a:ext cx="1080000" cy="1080000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B828A1FF-F8E5-9C4E-AD1D-16A22A0F275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7213" y="1552576"/>
            <a:ext cx="1080000" cy="1080000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F0013BC9-7932-2047-9C1D-1BA00A2C23C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7375" y="1547887"/>
            <a:ext cx="1080000" cy="1080000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A6B286A8-9DA2-504B-8EE6-F0918A6D997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192392" y="3764284"/>
            <a:ext cx="1080000" cy="1080000"/>
          </a:xfrm>
          <a:prstGeom prst="rect">
            <a:avLst/>
          </a:prstGeom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4907C846-1E57-244F-B9A9-1E9DBEBF7FE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9884" y="3775947"/>
            <a:ext cx="1080000" cy="1080000"/>
          </a:xfrm>
          <a:prstGeom prst="rect">
            <a:avLst/>
          </a:prstGeom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23974747-E80D-AA46-BD0C-4B7A1060457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378396" y="3783919"/>
            <a:ext cx="1080000" cy="1080000"/>
          </a:xfrm>
          <a:prstGeom prst="rect">
            <a:avLst/>
          </a:prstGeom>
        </p:spPr>
      </p:pic>
      <p:sp>
        <p:nvSpPr>
          <p:cNvPr id="26" name="Дата 3">
            <a:extLst>
              <a:ext uri="{FF2B5EF4-FFF2-40B4-BE49-F238E27FC236}">
                <a16:creationId xmlns:a16="http://schemas.microsoft.com/office/drawing/2014/main" id="{200CD4B9-2BBC-E040-A7D1-3678448FE29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3" name="Номер слайда 5">
            <a:extLst>
              <a:ext uri="{FF2B5EF4-FFF2-40B4-BE49-F238E27FC236}">
                <a16:creationId xmlns:a16="http://schemas.microsoft.com/office/drawing/2014/main" id="{2EA0D7EE-B12B-E49F-F15A-8700D9E4170E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EFFD787-B447-071D-6902-622EEB0705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60600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80304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47" userDrawn="1">
          <p15:clr>
            <a:srgbClr val="FBAE40"/>
          </p15:clr>
        </p15:guide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иконками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974307"/>
            <a:ext cx="11243637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C6E5048-98E5-9D4D-8E61-25E64447B90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53C06D2-57D4-4143-B16D-646A653A7F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algn="r" defTabSz="914300">
              <a:defRPr/>
            </a:pPr>
            <a:r>
              <a:rPr lang="ru-RU"/>
              <a:t>Школа Летово</a:t>
            </a:r>
            <a:r>
              <a:rPr lang="en-US"/>
              <a:t>   |   </a:t>
            </a:r>
            <a:fld id="{3FF7ECCA-52A6-EE4C-AA7E-82FCFCDACFE6}" type="slidenum">
              <a:rPr lang="ru-RU" smtClean="0"/>
              <a:pPr algn="r" defTabSz="914300">
                <a:defRPr/>
              </a:pPr>
              <a:t>‹#›</a:t>
            </a:fld>
            <a:endParaRPr lang="ru-RU" dirty="0"/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5004D1B-AE65-4648-A86C-2D2205DC3BD8}"/>
              </a:ext>
            </a:extLst>
          </p:cNvPr>
          <p:cNvSpPr txBox="1">
            <a:spLocks/>
          </p:cNvSpPr>
          <p:nvPr userDrawn="1"/>
        </p:nvSpPr>
        <p:spPr>
          <a:xfrm>
            <a:off x="58737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605E0600-3D2A-DD43-89F1-7B25870F7A82}"/>
              </a:ext>
            </a:extLst>
          </p:cNvPr>
          <p:cNvSpPr txBox="1">
            <a:spLocks/>
          </p:cNvSpPr>
          <p:nvPr userDrawn="1"/>
        </p:nvSpPr>
        <p:spPr>
          <a:xfrm>
            <a:off x="58737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8" name="Подзаголовок 2">
            <a:extLst>
              <a:ext uri="{FF2B5EF4-FFF2-40B4-BE49-F238E27FC236}">
                <a16:creationId xmlns:a16="http://schemas.microsoft.com/office/drawing/2014/main" id="{00126CB7-73AB-934B-9EE3-C5C5CD6E4571}"/>
              </a:ext>
            </a:extLst>
          </p:cNvPr>
          <p:cNvSpPr txBox="1">
            <a:spLocks/>
          </p:cNvSpPr>
          <p:nvPr userDrawn="1"/>
        </p:nvSpPr>
        <p:spPr>
          <a:xfrm>
            <a:off x="438213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19" name="Подзаголовок 2">
            <a:extLst>
              <a:ext uri="{FF2B5EF4-FFF2-40B4-BE49-F238E27FC236}">
                <a16:creationId xmlns:a16="http://schemas.microsoft.com/office/drawing/2014/main" id="{26EC1276-96E4-D547-9CBE-9FC7D100D3A8}"/>
              </a:ext>
            </a:extLst>
          </p:cNvPr>
          <p:cNvSpPr txBox="1">
            <a:spLocks/>
          </p:cNvSpPr>
          <p:nvPr userDrawn="1"/>
        </p:nvSpPr>
        <p:spPr>
          <a:xfrm>
            <a:off x="438213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1" name="Подзаголовок 2">
            <a:extLst>
              <a:ext uri="{FF2B5EF4-FFF2-40B4-BE49-F238E27FC236}">
                <a16:creationId xmlns:a16="http://schemas.microsoft.com/office/drawing/2014/main" id="{FF420C79-6F94-414E-82C9-D88CBE0CD630}"/>
              </a:ext>
            </a:extLst>
          </p:cNvPr>
          <p:cNvSpPr txBox="1">
            <a:spLocks/>
          </p:cNvSpPr>
          <p:nvPr userDrawn="1"/>
        </p:nvSpPr>
        <p:spPr>
          <a:xfrm>
            <a:off x="8199755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2" name="Подзаголовок 2">
            <a:extLst>
              <a:ext uri="{FF2B5EF4-FFF2-40B4-BE49-F238E27FC236}">
                <a16:creationId xmlns:a16="http://schemas.microsoft.com/office/drawing/2014/main" id="{7F82D417-9A1A-FF49-95C4-C7E49B1327F4}"/>
              </a:ext>
            </a:extLst>
          </p:cNvPr>
          <p:cNvSpPr txBox="1">
            <a:spLocks/>
          </p:cNvSpPr>
          <p:nvPr userDrawn="1"/>
        </p:nvSpPr>
        <p:spPr>
          <a:xfrm>
            <a:off x="8199754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4" name="Подзаголовок 2">
            <a:extLst>
              <a:ext uri="{FF2B5EF4-FFF2-40B4-BE49-F238E27FC236}">
                <a16:creationId xmlns:a16="http://schemas.microsoft.com/office/drawing/2014/main" id="{2EAE8651-F66C-7747-9DED-671C41731072}"/>
              </a:ext>
            </a:extLst>
          </p:cNvPr>
          <p:cNvSpPr txBox="1">
            <a:spLocks/>
          </p:cNvSpPr>
          <p:nvPr userDrawn="1"/>
        </p:nvSpPr>
        <p:spPr>
          <a:xfrm>
            <a:off x="58737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5" name="Подзаголовок 2">
            <a:extLst>
              <a:ext uri="{FF2B5EF4-FFF2-40B4-BE49-F238E27FC236}">
                <a16:creationId xmlns:a16="http://schemas.microsoft.com/office/drawing/2014/main" id="{9F22FECE-96CF-104D-A050-09965E3A3AA5}"/>
              </a:ext>
            </a:extLst>
          </p:cNvPr>
          <p:cNvSpPr txBox="1">
            <a:spLocks/>
          </p:cNvSpPr>
          <p:nvPr userDrawn="1"/>
        </p:nvSpPr>
        <p:spPr>
          <a:xfrm>
            <a:off x="58737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7" name="Подзаголовок 2">
            <a:extLst>
              <a:ext uri="{FF2B5EF4-FFF2-40B4-BE49-F238E27FC236}">
                <a16:creationId xmlns:a16="http://schemas.microsoft.com/office/drawing/2014/main" id="{7E4B519D-0E38-7040-9DF6-98ACF801197F}"/>
              </a:ext>
            </a:extLst>
          </p:cNvPr>
          <p:cNvSpPr txBox="1">
            <a:spLocks/>
          </p:cNvSpPr>
          <p:nvPr userDrawn="1"/>
        </p:nvSpPr>
        <p:spPr>
          <a:xfrm>
            <a:off x="438213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8" name="Подзаголовок 2">
            <a:extLst>
              <a:ext uri="{FF2B5EF4-FFF2-40B4-BE49-F238E27FC236}">
                <a16:creationId xmlns:a16="http://schemas.microsoft.com/office/drawing/2014/main" id="{4441DC30-EC1C-0843-A973-61C6A5307218}"/>
              </a:ext>
            </a:extLst>
          </p:cNvPr>
          <p:cNvSpPr txBox="1">
            <a:spLocks/>
          </p:cNvSpPr>
          <p:nvPr userDrawn="1"/>
        </p:nvSpPr>
        <p:spPr>
          <a:xfrm>
            <a:off x="438213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30" name="Подзаголовок 2">
            <a:extLst>
              <a:ext uri="{FF2B5EF4-FFF2-40B4-BE49-F238E27FC236}">
                <a16:creationId xmlns:a16="http://schemas.microsoft.com/office/drawing/2014/main" id="{8B590F70-B231-B347-8CB3-106E50517972}"/>
              </a:ext>
            </a:extLst>
          </p:cNvPr>
          <p:cNvSpPr txBox="1">
            <a:spLocks/>
          </p:cNvSpPr>
          <p:nvPr userDrawn="1"/>
        </p:nvSpPr>
        <p:spPr>
          <a:xfrm>
            <a:off x="8199755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32" name="Подзаголовок 2">
            <a:extLst>
              <a:ext uri="{FF2B5EF4-FFF2-40B4-BE49-F238E27FC236}">
                <a16:creationId xmlns:a16="http://schemas.microsoft.com/office/drawing/2014/main" id="{17B66FAB-2AAF-054C-984F-5C6B50EB76D6}"/>
              </a:ext>
            </a:extLst>
          </p:cNvPr>
          <p:cNvSpPr txBox="1">
            <a:spLocks/>
          </p:cNvSpPr>
          <p:nvPr userDrawn="1"/>
        </p:nvSpPr>
        <p:spPr>
          <a:xfrm>
            <a:off x="8199754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A4C45C05-8E9F-E84F-AD90-71248208B9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184629" y="1548512"/>
            <a:ext cx="1080000" cy="1080000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B828A1FF-F8E5-9C4E-AD1D-16A22A0F275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7213" y="1552576"/>
            <a:ext cx="1080000" cy="1080000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F0013BC9-7932-2047-9C1D-1BA00A2C23C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7375" y="1547887"/>
            <a:ext cx="1080000" cy="1080000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A6B286A8-9DA2-504B-8EE6-F0918A6D997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192392" y="3764284"/>
            <a:ext cx="1080000" cy="1080000"/>
          </a:xfrm>
          <a:prstGeom prst="rect">
            <a:avLst/>
          </a:prstGeom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4907C846-1E57-244F-B9A9-1E9DBEBF7FE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9884" y="3775947"/>
            <a:ext cx="1080000" cy="1080000"/>
          </a:xfrm>
          <a:prstGeom prst="rect">
            <a:avLst/>
          </a:prstGeom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23974747-E80D-AA46-BD0C-4B7A1060457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378396" y="3783919"/>
            <a:ext cx="1080000" cy="108000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E1CE1198-4AEC-D1E5-ADD3-4055F01B1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6060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907334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7EFDE0-5A54-402A-B0C3-6BC0BB739C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45FE571E-3C27-6DD6-3511-9925B0F5EE75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ED84316-A52C-84C0-5AFF-69A0D7BDAD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837137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Фото сотрудников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974307"/>
            <a:ext cx="11243637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44" name="Дата 3">
            <a:extLst>
              <a:ext uri="{FF2B5EF4-FFF2-40B4-BE49-F238E27FC236}">
                <a16:creationId xmlns:a16="http://schemas.microsoft.com/office/drawing/2014/main" id="{35EFBECD-A71E-CB4B-81F3-F4F7C576EE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78" name="object 4">
            <a:extLst>
              <a:ext uri="{FF2B5EF4-FFF2-40B4-BE49-F238E27FC236}">
                <a16:creationId xmlns:a16="http://schemas.microsoft.com/office/drawing/2014/main" id="{A41EAACD-E699-EBEC-3DED-9A06399BF685}"/>
              </a:ext>
            </a:extLst>
          </p:cNvPr>
          <p:cNvSpPr/>
          <p:nvPr userDrawn="1"/>
        </p:nvSpPr>
        <p:spPr>
          <a:xfrm>
            <a:off x="760701" y="1698140"/>
            <a:ext cx="1539103" cy="1539103"/>
          </a:xfrm>
          <a:custGeom>
            <a:avLst/>
            <a:gdLst/>
            <a:ahLst/>
            <a:cxnLst/>
            <a:rect l="l" t="t" r="r" b="b"/>
            <a:pathLst>
              <a:path w="2538095" h="2538095">
                <a:moveTo>
                  <a:pt x="1269008" y="2538016"/>
                </a:moveTo>
                <a:lnTo>
                  <a:pt x="1317684" y="2537100"/>
                </a:lnTo>
                <a:lnTo>
                  <a:pt x="1365896" y="2534373"/>
                </a:lnTo>
                <a:lnTo>
                  <a:pt x="1413612" y="2529868"/>
                </a:lnTo>
                <a:lnTo>
                  <a:pt x="1460798" y="2523618"/>
                </a:lnTo>
                <a:lnTo>
                  <a:pt x="1507423" y="2515655"/>
                </a:lnTo>
                <a:lnTo>
                  <a:pt x="1553453" y="2506014"/>
                </a:lnTo>
                <a:lnTo>
                  <a:pt x="1598855" y="2494726"/>
                </a:lnTo>
                <a:lnTo>
                  <a:pt x="1643596" y="2481824"/>
                </a:lnTo>
                <a:lnTo>
                  <a:pt x="1687644" y="2467341"/>
                </a:lnTo>
                <a:lnTo>
                  <a:pt x="1730966" y="2451311"/>
                </a:lnTo>
                <a:lnTo>
                  <a:pt x="1773528" y="2433765"/>
                </a:lnTo>
                <a:lnTo>
                  <a:pt x="1815299" y="2414738"/>
                </a:lnTo>
                <a:lnTo>
                  <a:pt x="1856244" y="2394261"/>
                </a:lnTo>
                <a:lnTo>
                  <a:pt x="1896332" y="2372367"/>
                </a:lnTo>
                <a:lnTo>
                  <a:pt x="1935529" y="2349090"/>
                </a:lnTo>
                <a:lnTo>
                  <a:pt x="1973802" y="2324463"/>
                </a:lnTo>
                <a:lnTo>
                  <a:pt x="2011119" y="2298517"/>
                </a:lnTo>
                <a:lnTo>
                  <a:pt x="2047447" y="2271286"/>
                </a:lnTo>
                <a:lnTo>
                  <a:pt x="2082753" y="2242804"/>
                </a:lnTo>
                <a:lnTo>
                  <a:pt x="2117004" y="2213101"/>
                </a:lnTo>
                <a:lnTo>
                  <a:pt x="2150167" y="2182213"/>
                </a:lnTo>
                <a:lnTo>
                  <a:pt x="2182209" y="2150171"/>
                </a:lnTo>
                <a:lnTo>
                  <a:pt x="2213098" y="2117008"/>
                </a:lnTo>
                <a:lnTo>
                  <a:pt x="2242800" y="2082757"/>
                </a:lnTo>
                <a:lnTo>
                  <a:pt x="2271283" y="2047452"/>
                </a:lnTo>
                <a:lnTo>
                  <a:pt x="2298514" y="2011124"/>
                </a:lnTo>
                <a:lnTo>
                  <a:pt x="2324460" y="1973807"/>
                </a:lnTo>
                <a:lnTo>
                  <a:pt x="2349088" y="1935533"/>
                </a:lnTo>
                <a:lnTo>
                  <a:pt x="2372365" y="1896336"/>
                </a:lnTo>
                <a:lnTo>
                  <a:pt x="2394259" y="1856249"/>
                </a:lnTo>
                <a:lnTo>
                  <a:pt x="2414736" y="1815303"/>
                </a:lnTo>
                <a:lnTo>
                  <a:pt x="2433764" y="1773533"/>
                </a:lnTo>
                <a:lnTo>
                  <a:pt x="2451310" y="1730970"/>
                </a:lnTo>
                <a:lnTo>
                  <a:pt x="2467340" y="1687648"/>
                </a:lnTo>
                <a:lnTo>
                  <a:pt x="2481823" y="1643600"/>
                </a:lnTo>
                <a:lnTo>
                  <a:pt x="2494725" y="1598858"/>
                </a:lnTo>
                <a:lnTo>
                  <a:pt x="2506013" y="1553456"/>
                </a:lnTo>
                <a:lnTo>
                  <a:pt x="2515655" y="1507426"/>
                </a:lnTo>
                <a:lnTo>
                  <a:pt x="2523618" y="1460801"/>
                </a:lnTo>
                <a:lnTo>
                  <a:pt x="2529868" y="1413614"/>
                </a:lnTo>
                <a:lnTo>
                  <a:pt x="2534373" y="1365897"/>
                </a:lnTo>
                <a:lnTo>
                  <a:pt x="2537100" y="1317684"/>
                </a:lnTo>
                <a:lnTo>
                  <a:pt x="2538016" y="1269008"/>
                </a:lnTo>
                <a:lnTo>
                  <a:pt x="2537100" y="1220332"/>
                </a:lnTo>
                <a:lnTo>
                  <a:pt x="2534373" y="1172120"/>
                </a:lnTo>
                <a:lnTo>
                  <a:pt x="2529868" y="1124404"/>
                </a:lnTo>
                <a:lnTo>
                  <a:pt x="2523618" y="1077218"/>
                </a:lnTo>
                <a:lnTo>
                  <a:pt x="2515655" y="1030593"/>
                </a:lnTo>
                <a:lnTo>
                  <a:pt x="2506013" y="984563"/>
                </a:lnTo>
                <a:lnTo>
                  <a:pt x="2494725" y="939161"/>
                </a:lnTo>
                <a:lnTo>
                  <a:pt x="2481823" y="894420"/>
                </a:lnTo>
                <a:lnTo>
                  <a:pt x="2467340" y="850372"/>
                </a:lnTo>
                <a:lnTo>
                  <a:pt x="2451310" y="807050"/>
                </a:lnTo>
                <a:lnTo>
                  <a:pt x="2433764" y="764488"/>
                </a:lnTo>
                <a:lnTo>
                  <a:pt x="2414736" y="722717"/>
                </a:lnTo>
                <a:lnTo>
                  <a:pt x="2394259" y="681772"/>
                </a:lnTo>
                <a:lnTo>
                  <a:pt x="2372365" y="641684"/>
                </a:lnTo>
                <a:lnTo>
                  <a:pt x="2349088" y="602487"/>
                </a:lnTo>
                <a:lnTo>
                  <a:pt x="2324460" y="564214"/>
                </a:lnTo>
                <a:lnTo>
                  <a:pt x="2298514" y="526897"/>
                </a:lnTo>
                <a:lnTo>
                  <a:pt x="2271283" y="490569"/>
                </a:lnTo>
                <a:lnTo>
                  <a:pt x="2242800" y="455263"/>
                </a:lnTo>
                <a:lnTo>
                  <a:pt x="2213098" y="421012"/>
                </a:lnTo>
                <a:lnTo>
                  <a:pt x="2182209" y="387849"/>
                </a:lnTo>
                <a:lnTo>
                  <a:pt x="2150167" y="355807"/>
                </a:lnTo>
                <a:lnTo>
                  <a:pt x="2117004" y="324918"/>
                </a:lnTo>
                <a:lnTo>
                  <a:pt x="2082753" y="295216"/>
                </a:lnTo>
                <a:lnTo>
                  <a:pt x="2047447" y="266733"/>
                </a:lnTo>
                <a:lnTo>
                  <a:pt x="2011119" y="239502"/>
                </a:lnTo>
                <a:lnTo>
                  <a:pt x="1973802" y="213556"/>
                </a:lnTo>
                <a:lnTo>
                  <a:pt x="1935529" y="188928"/>
                </a:lnTo>
                <a:lnTo>
                  <a:pt x="1896332" y="165651"/>
                </a:lnTo>
                <a:lnTo>
                  <a:pt x="1856244" y="143757"/>
                </a:lnTo>
                <a:lnTo>
                  <a:pt x="1815299" y="123280"/>
                </a:lnTo>
                <a:lnTo>
                  <a:pt x="1773528" y="104252"/>
                </a:lnTo>
                <a:lnTo>
                  <a:pt x="1730966" y="86706"/>
                </a:lnTo>
                <a:lnTo>
                  <a:pt x="1687644" y="70676"/>
                </a:lnTo>
                <a:lnTo>
                  <a:pt x="1643596" y="56193"/>
                </a:lnTo>
                <a:lnTo>
                  <a:pt x="1598855" y="43291"/>
                </a:lnTo>
                <a:lnTo>
                  <a:pt x="1553453" y="32003"/>
                </a:lnTo>
                <a:lnTo>
                  <a:pt x="1507423" y="22361"/>
                </a:lnTo>
                <a:lnTo>
                  <a:pt x="1460798" y="14398"/>
                </a:lnTo>
                <a:lnTo>
                  <a:pt x="1413612" y="8148"/>
                </a:lnTo>
                <a:lnTo>
                  <a:pt x="1365896" y="3643"/>
                </a:lnTo>
                <a:lnTo>
                  <a:pt x="1317684" y="916"/>
                </a:lnTo>
                <a:lnTo>
                  <a:pt x="1269008" y="0"/>
                </a:lnTo>
                <a:lnTo>
                  <a:pt x="1220332" y="916"/>
                </a:lnTo>
                <a:lnTo>
                  <a:pt x="1172120" y="3643"/>
                </a:lnTo>
                <a:lnTo>
                  <a:pt x="1124404" y="8148"/>
                </a:lnTo>
                <a:lnTo>
                  <a:pt x="1077218" y="14398"/>
                </a:lnTo>
                <a:lnTo>
                  <a:pt x="1030593" y="22361"/>
                </a:lnTo>
                <a:lnTo>
                  <a:pt x="984563" y="32003"/>
                </a:lnTo>
                <a:lnTo>
                  <a:pt x="939161" y="43291"/>
                </a:lnTo>
                <a:lnTo>
                  <a:pt x="894420" y="56193"/>
                </a:lnTo>
                <a:lnTo>
                  <a:pt x="850372" y="70676"/>
                </a:lnTo>
                <a:lnTo>
                  <a:pt x="807050" y="86706"/>
                </a:lnTo>
                <a:lnTo>
                  <a:pt x="764488" y="104252"/>
                </a:lnTo>
                <a:lnTo>
                  <a:pt x="722717" y="123280"/>
                </a:lnTo>
                <a:lnTo>
                  <a:pt x="681772" y="143757"/>
                </a:lnTo>
                <a:lnTo>
                  <a:pt x="641684" y="165651"/>
                </a:lnTo>
                <a:lnTo>
                  <a:pt x="602487" y="188928"/>
                </a:lnTo>
                <a:lnTo>
                  <a:pt x="564214" y="213556"/>
                </a:lnTo>
                <a:lnTo>
                  <a:pt x="526897" y="239502"/>
                </a:lnTo>
                <a:lnTo>
                  <a:pt x="490569" y="266733"/>
                </a:lnTo>
                <a:lnTo>
                  <a:pt x="455263" y="295216"/>
                </a:lnTo>
                <a:lnTo>
                  <a:pt x="421012" y="324918"/>
                </a:lnTo>
                <a:lnTo>
                  <a:pt x="387849" y="355807"/>
                </a:lnTo>
                <a:lnTo>
                  <a:pt x="355807" y="387849"/>
                </a:lnTo>
                <a:lnTo>
                  <a:pt x="324918" y="421012"/>
                </a:lnTo>
                <a:lnTo>
                  <a:pt x="295216" y="455263"/>
                </a:lnTo>
                <a:lnTo>
                  <a:pt x="266733" y="490569"/>
                </a:lnTo>
                <a:lnTo>
                  <a:pt x="239502" y="526897"/>
                </a:lnTo>
                <a:lnTo>
                  <a:pt x="213556" y="564214"/>
                </a:lnTo>
                <a:lnTo>
                  <a:pt x="188928" y="602487"/>
                </a:lnTo>
                <a:lnTo>
                  <a:pt x="165651" y="641684"/>
                </a:lnTo>
                <a:lnTo>
                  <a:pt x="143757" y="681772"/>
                </a:lnTo>
                <a:lnTo>
                  <a:pt x="123280" y="722717"/>
                </a:lnTo>
                <a:lnTo>
                  <a:pt x="104252" y="764488"/>
                </a:lnTo>
                <a:lnTo>
                  <a:pt x="86706" y="807050"/>
                </a:lnTo>
                <a:lnTo>
                  <a:pt x="70676" y="850372"/>
                </a:lnTo>
                <a:lnTo>
                  <a:pt x="56193" y="894420"/>
                </a:lnTo>
                <a:lnTo>
                  <a:pt x="43291" y="939161"/>
                </a:lnTo>
                <a:lnTo>
                  <a:pt x="32003" y="984563"/>
                </a:lnTo>
                <a:lnTo>
                  <a:pt x="22361" y="1030593"/>
                </a:lnTo>
                <a:lnTo>
                  <a:pt x="14398" y="1077218"/>
                </a:lnTo>
                <a:lnTo>
                  <a:pt x="8148" y="1124404"/>
                </a:lnTo>
                <a:lnTo>
                  <a:pt x="3643" y="1172120"/>
                </a:lnTo>
                <a:lnTo>
                  <a:pt x="916" y="1220332"/>
                </a:lnTo>
                <a:lnTo>
                  <a:pt x="0" y="1269008"/>
                </a:lnTo>
                <a:lnTo>
                  <a:pt x="916" y="1317684"/>
                </a:lnTo>
                <a:lnTo>
                  <a:pt x="3643" y="1365897"/>
                </a:lnTo>
                <a:lnTo>
                  <a:pt x="8148" y="1413614"/>
                </a:lnTo>
                <a:lnTo>
                  <a:pt x="14398" y="1460801"/>
                </a:lnTo>
                <a:lnTo>
                  <a:pt x="22361" y="1507426"/>
                </a:lnTo>
                <a:lnTo>
                  <a:pt x="32003" y="1553456"/>
                </a:lnTo>
                <a:lnTo>
                  <a:pt x="43291" y="1598858"/>
                </a:lnTo>
                <a:lnTo>
                  <a:pt x="56193" y="1643600"/>
                </a:lnTo>
                <a:lnTo>
                  <a:pt x="70676" y="1687648"/>
                </a:lnTo>
                <a:lnTo>
                  <a:pt x="86706" y="1730970"/>
                </a:lnTo>
                <a:lnTo>
                  <a:pt x="104252" y="1773533"/>
                </a:lnTo>
                <a:lnTo>
                  <a:pt x="123280" y="1815303"/>
                </a:lnTo>
                <a:lnTo>
                  <a:pt x="143757" y="1856249"/>
                </a:lnTo>
                <a:lnTo>
                  <a:pt x="165651" y="1896336"/>
                </a:lnTo>
                <a:lnTo>
                  <a:pt x="188928" y="1935533"/>
                </a:lnTo>
                <a:lnTo>
                  <a:pt x="213556" y="1973807"/>
                </a:lnTo>
                <a:lnTo>
                  <a:pt x="239502" y="2011124"/>
                </a:lnTo>
                <a:lnTo>
                  <a:pt x="266733" y="2047452"/>
                </a:lnTo>
                <a:lnTo>
                  <a:pt x="295216" y="2082757"/>
                </a:lnTo>
                <a:lnTo>
                  <a:pt x="324918" y="2117008"/>
                </a:lnTo>
                <a:lnTo>
                  <a:pt x="355807" y="2150171"/>
                </a:lnTo>
                <a:lnTo>
                  <a:pt x="387849" y="2182213"/>
                </a:lnTo>
                <a:lnTo>
                  <a:pt x="421012" y="2213101"/>
                </a:lnTo>
                <a:lnTo>
                  <a:pt x="455263" y="2242804"/>
                </a:lnTo>
                <a:lnTo>
                  <a:pt x="490569" y="2271286"/>
                </a:lnTo>
                <a:lnTo>
                  <a:pt x="526897" y="2298517"/>
                </a:lnTo>
                <a:lnTo>
                  <a:pt x="564214" y="2324463"/>
                </a:lnTo>
                <a:lnTo>
                  <a:pt x="602487" y="2349090"/>
                </a:lnTo>
                <a:lnTo>
                  <a:pt x="641684" y="2372367"/>
                </a:lnTo>
                <a:lnTo>
                  <a:pt x="681772" y="2394261"/>
                </a:lnTo>
                <a:lnTo>
                  <a:pt x="722717" y="2414738"/>
                </a:lnTo>
                <a:lnTo>
                  <a:pt x="764488" y="2433765"/>
                </a:lnTo>
                <a:lnTo>
                  <a:pt x="807050" y="2451311"/>
                </a:lnTo>
                <a:lnTo>
                  <a:pt x="850372" y="2467341"/>
                </a:lnTo>
                <a:lnTo>
                  <a:pt x="894420" y="2481824"/>
                </a:lnTo>
                <a:lnTo>
                  <a:pt x="939161" y="2494726"/>
                </a:lnTo>
                <a:lnTo>
                  <a:pt x="984563" y="2506014"/>
                </a:lnTo>
                <a:lnTo>
                  <a:pt x="1030593" y="2515655"/>
                </a:lnTo>
                <a:lnTo>
                  <a:pt x="1077218" y="2523618"/>
                </a:lnTo>
                <a:lnTo>
                  <a:pt x="1124404" y="2529868"/>
                </a:lnTo>
                <a:lnTo>
                  <a:pt x="1172120" y="2534373"/>
                </a:lnTo>
                <a:lnTo>
                  <a:pt x="1220332" y="2537100"/>
                </a:lnTo>
                <a:lnTo>
                  <a:pt x="1269008" y="2538016"/>
                </a:lnTo>
                <a:close/>
              </a:path>
            </a:pathLst>
          </a:custGeom>
          <a:ln w="136121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92">
              <a:solidFill>
                <a:prstClr val="black"/>
              </a:solidFill>
            </a:endParaRPr>
          </a:p>
        </p:txBody>
      </p:sp>
      <p:sp>
        <p:nvSpPr>
          <p:cNvPr id="84" name="object 10">
            <a:extLst>
              <a:ext uri="{FF2B5EF4-FFF2-40B4-BE49-F238E27FC236}">
                <a16:creationId xmlns:a16="http://schemas.microsoft.com/office/drawing/2014/main" id="{D316184D-578C-D9D1-CD50-B438879A5FF7}"/>
              </a:ext>
            </a:extLst>
          </p:cNvPr>
          <p:cNvSpPr/>
          <p:nvPr userDrawn="1"/>
        </p:nvSpPr>
        <p:spPr>
          <a:xfrm>
            <a:off x="3043586" y="1698140"/>
            <a:ext cx="1539103" cy="1539103"/>
          </a:xfrm>
          <a:custGeom>
            <a:avLst/>
            <a:gdLst/>
            <a:ahLst/>
            <a:cxnLst/>
            <a:rect l="l" t="t" r="r" b="b"/>
            <a:pathLst>
              <a:path w="2538095" h="2538095">
                <a:moveTo>
                  <a:pt x="1269008" y="2538016"/>
                </a:moveTo>
                <a:lnTo>
                  <a:pt x="1317684" y="2537100"/>
                </a:lnTo>
                <a:lnTo>
                  <a:pt x="1365896" y="2534373"/>
                </a:lnTo>
                <a:lnTo>
                  <a:pt x="1413612" y="2529868"/>
                </a:lnTo>
                <a:lnTo>
                  <a:pt x="1460798" y="2523618"/>
                </a:lnTo>
                <a:lnTo>
                  <a:pt x="1507423" y="2515655"/>
                </a:lnTo>
                <a:lnTo>
                  <a:pt x="1553453" y="2506014"/>
                </a:lnTo>
                <a:lnTo>
                  <a:pt x="1598855" y="2494726"/>
                </a:lnTo>
                <a:lnTo>
                  <a:pt x="1643596" y="2481824"/>
                </a:lnTo>
                <a:lnTo>
                  <a:pt x="1687644" y="2467341"/>
                </a:lnTo>
                <a:lnTo>
                  <a:pt x="1730966" y="2451311"/>
                </a:lnTo>
                <a:lnTo>
                  <a:pt x="1773528" y="2433765"/>
                </a:lnTo>
                <a:lnTo>
                  <a:pt x="1815299" y="2414738"/>
                </a:lnTo>
                <a:lnTo>
                  <a:pt x="1856244" y="2394261"/>
                </a:lnTo>
                <a:lnTo>
                  <a:pt x="1896332" y="2372367"/>
                </a:lnTo>
                <a:lnTo>
                  <a:pt x="1935529" y="2349090"/>
                </a:lnTo>
                <a:lnTo>
                  <a:pt x="1973802" y="2324463"/>
                </a:lnTo>
                <a:lnTo>
                  <a:pt x="2011119" y="2298517"/>
                </a:lnTo>
                <a:lnTo>
                  <a:pt x="2047447" y="2271286"/>
                </a:lnTo>
                <a:lnTo>
                  <a:pt x="2082753" y="2242804"/>
                </a:lnTo>
                <a:lnTo>
                  <a:pt x="2117004" y="2213101"/>
                </a:lnTo>
                <a:lnTo>
                  <a:pt x="2150167" y="2182213"/>
                </a:lnTo>
                <a:lnTo>
                  <a:pt x="2182209" y="2150171"/>
                </a:lnTo>
                <a:lnTo>
                  <a:pt x="2213098" y="2117008"/>
                </a:lnTo>
                <a:lnTo>
                  <a:pt x="2242800" y="2082757"/>
                </a:lnTo>
                <a:lnTo>
                  <a:pt x="2271283" y="2047452"/>
                </a:lnTo>
                <a:lnTo>
                  <a:pt x="2298514" y="2011124"/>
                </a:lnTo>
                <a:lnTo>
                  <a:pt x="2324460" y="1973807"/>
                </a:lnTo>
                <a:lnTo>
                  <a:pt x="2349088" y="1935533"/>
                </a:lnTo>
                <a:lnTo>
                  <a:pt x="2372365" y="1896336"/>
                </a:lnTo>
                <a:lnTo>
                  <a:pt x="2394259" y="1856249"/>
                </a:lnTo>
                <a:lnTo>
                  <a:pt x="2414736" y="1815303"/>
                </a:lnTo>
                <a:lnTo>
                  <a:pt x="2433764" y="1773533"/>
                </a:lnTo>
                <a:lnTo>
                  <a:pt x="2451310" y="1730970"/>
                </a:lnTo>
                <a:lnTo>
                  <a:pt x="2467340" y="1687648"/>
                </a:lnTo>
                <a:lnTo>
                  <a:pt x="2481823" y="1643600"/>
                </a:lnTo>
                <a:lnTo>
                  <a:pt x="2494725" y="1598858"/>
                </a:lnTo>
                <a:lnTo>
                  <a:pt x="2506013" y="1553456"/>
                </a:lnTo>
                <a:lnTo>
                  <a:pt x="2515655" y="1507426"/>
                </a:lnTo>
                <a:lnTo>
                  <a:pt x="2523618" y="1460801"/>
                </a:lnTo>
                <a:lnTo>
                  <a:pt x="2529868" y="1413614"/>
                </a:lnTo>
                <a:lnTo>
                  <a:pt x="2534373" y="1365897"/>
                </a:lnTo>
                <a:lnTo>
                  <a:pt x="2537100" y="1317684"/>
                </a:lnTo>
                <a:lnTo>
                  <a:pt x="2538016" y="1269008"/>
                </a:lnTo>
                <a:lnTo>
                  <a:pt x="2537100" y="1220332"/>
                </a:lnTo>
                <a:lnTo>
                  <a:pt x="2534373" y="1172120"/>
                </a:lnTo>
                <a:lnTo>
                  <a:pt x="2529868" y="1124404"/>
                </a:lnTo>
                <a:lnTo>
                  <a:pt x="2523618" y="1077218"/>
                </a:lnTo>
                <a:lnTo>
                  <a:pt x="2515655" y="1030593"/>
                </a:lnTo>
                <a:lnTo>
                  <a:pt x="2506013" y="984563"/>
                </a:lnTo>
                <a:lnTo>
                  <a:pt x="2494725" y="939161"/>
                </a:lnTo>
                <a:lnTo>
                  <a:pt x="2481823" y="894420"/>
                </a:lnTo>
                <a:lnTo>
                  <a:pt x="2467340" y="850372"/>
                </a:lnTo>
                <a:lnTo>
                  <a:pt x="2451310" y="807050"/>
                </a:lnTo>
                <a:lnTo>
                  <a:pt x="2433764" y="764488"/>
                </a:lnTo>
                <a:lnTo>
                  <a:pt x="2414736" y="722717"/>
                </a:lnTo>
                <a:lnTo>
                  <a:pt x="2394259" y="681772"/>
                </a:lnTo>
                <a:lnTo>
                  <a:pt x="2372365" y="641684"/>
                </a:lnTo>
                <a:lnTo>
                  <a:pt x="2349088" y="602487"/>
                </a:lnTo>
                <a:lnTo>
                  <a:pt x="2324460" y="564214"/>
                </a:lnTo>
                <a:lnTo>
                  <a:pt x="2298514" y="526897"/>
                </a:lnTo>
                <a:lnTo>
                  <a:pt x="2271283" y="490569"/>
                </a:lnTo>
                <a:lnTo>
                  <a:pt x="2242800" y="455263"/>
                </a:lnTo>
                <a:lnTo>
                  <a:pt x="2213098" y="421012"/>
                </a:lnTo>
                <a:lnTo>
                  <a:pt x="2182209" y="387849"/>
                </a:lnTo>
                <a:lnTo>
                  <a:pt x="2150167" y="355807"/>
                </a:lnTo>
                <a:lnTo>
                  <a:pt x="2117004" y="324918"/>
                </a:lnTo>
                <a:lnTo>
                  <a:pt x="2082753" y="295216"/>
                </a:lnTo>
                <a:lnTo>
                  <a:pt x="2047447" y="266733"/>
                </a:lnTo>
                <a:lnTo>
                  <a:pt x="2011119" y="239502"/>
                </a:lnTo>
                <a:lnTo>
                  <a:pt x="1973802" y="213556"/>
                </a:lnTo>
                <a:lnTo>
                  <a:pt x="1935529" y="188928"/>
                </a:lnTo>
                <a:lnTo>
                  <a:pt x="1896332" y="165651"/>
                </a:lnTo>
                <a:lnTo>
                  <a:pt x="1856244" y="143757"/>
                </a:lnTo>
                <a:lnTo>
                  <a:pt x="1815299" y="123280"/>
                </a:lnTo>
                <a:lnTo>
                  <a:pt x="1773528" y="104252"/>
                </a:lnTo>
                <a:lnTo>
                  <a:pt x="1730966" y="86706"/>
                </a:lnTo>
                <a:lnTo>
                  <a:pt x="1687644" y="70676"/>
                </a:lnTo>
                <a:lnTo>
                  <a:pt x="1643596" y="56193"/>
                </a:lnTo>
                <a:lnTo>
                  <a:pt x="1598855" y="43291"/>
                </a:lnTo>
                <a:lnTo>
                  <a:pt x="1553453" y="32003"/>
                </a:lnTo>
                <a:lnTo>
                  <a:pt x="1507423" y="22361"/>
                </a:lnTo>
                <a:lnTo>
                  <a:pt x="1460798" y="14398"/>
                </a:lnTo>
                <a:lnTo>
                  <a:pt x="1413612" y="8148"/>
                </a:lnTo>
                <a:lnTo>
                  <a:pt x="1365896" y="3643"/>
                </a:lnTo>
                <a:lnTo>
                  <a:pt x="1317684" y="916"/>
                </a:lnTo>
                <a:lnTo>
                  <a:pt x="1269008" y="0"/>
                </a:lnTo>
                <a:lnTo>
                  <a:pt x="1220332" y="916"/>
                </a:lnTo>
                <a:lnTo>
                  <a:pt x="1172120" y="3643"/>
                </a:lnTo>
                <a:lnTo>
                  <a:pt x="1124404" y="8148"/>
                </a:lnTo>
                <a:lnTo>
                  <a:pt x="1077218" y="14398"/>
                </a:lnTo>
                <a:lnTo>
                  <a:pt x="1030593" y="22361"/>
                </a:lnTo>
                <a:lnTo>
                  <a:pt x="984563" y="32003"/>
                </a:lnTo>
                <a:lnTo>
                  <a:pt x="939161" y="43291"/>
                </a:lnTo>
                <a:lnTo>
                  <a:pt x="894420" y="56193"/>
                </a:lnTo>
                <a:lnTo>
                  <a:pt x="850372" y="70676"/>
                </a:lnTo>
                <a:lnTo>
                  <a:pt x="807050" y="86706"/>
                </a:lnTo>
                <a:lnTo>
                  <a:pt x="764488" y="104252"/>
                </a:lnTo>
                <a:lnTo>
                  <a:pt x="722717" y="123280"/>
                </a:lnTo>
                <a:lnTo>
                  <a:pt x="681772" y="143757"/>
                </a:lnTo>
                <a:lnTo>
                  <a:pt x="641684" y="165651"/>
                </a:lnTo>
                <a:lnTo>
                  <a:pt x="602487" y="188928"/>
                </a:lnTo>
                <a:lnTo>
                  <a:pt x="564214" y="213556"/>
                </a:lnTo>
                <a:lnTo>
                  <a:pt x="526897" y="239502"/>
                </a:lnTo>
                <a:lnTo>
                  <a:pt x="490569" y="266733"/>
                </a:lnTo>
                <a:lnTo>
                  <a:pt x="455263" y="295216"/>
                </a:lnTo>
                <a:lnTo>
                  <a:pt x="421012" y="324918"/>
                </a:lnTo>
                <a:lnTo>
                  <a:pt x="387849" y="355807"/>
                </a:lnTo>
                <a:lnTo>
                  <a:pt x="355807" y="387849"/>
                </a:lnTo>
                <a:lnTo>
                  <a:pt x="324918" y="421012"/>
                </a:lnTo>
                <a:lnTo>
                  <a:pt x="295216" y="455263"/>
                </a:lnTo>
                <a:lnTo>
                  <a:pt x="266733" y="490569"/>
                </a:lnTo>
                <a:lnTo>
                  <a:pt x="239502" y="526897"/>
                </a:lnTo>
                <a:lnTo>
                  <a:pt x="213556" y="564214"/>
                </a:lnTo>
                <a:lnTo>
                  <a:pt x="188928" y="602487"/>
                </a:lnTo>
                <a:lnTo>
                  <a:pt x="165651" y="641684"/>
                </a:lnTo>
                <a:lnTo>
                  <a:pt x="143757" y="681772"/>
                </a:lnTo>
                <a:lnTo>
                  <a:pt x="123280" y="722717"/>
                </a:lnTo>
                <a:lnTo>
                  <a:pt x="104252" y="764488"/>
                </a:lnTo>
                <a:lnTo>
                  <a:pt x="86706" y="807050"/>
                </a:lnTo>
                <a:lnTo>
                  <a:pt x="70676" y="850372"/>
                </a:lnTo>
                <a:lnTo>
                  <a:pt x="56193" y="894420"/>
                </a:lnTo>
                <a:lnTo>
                  <a:pt x="43291" y="939161"/>
                </a:lnTo>
                <a:lnTo>
                  <a:pt x="32003" y="984563"/>
                </a:lnTo>
                <a:lnTo>
                  <a:pt x="22361" y="1030593"/>
                </a:lnTo>
                <a:lnTo>
                  <a:pt x="14398" y="1077218"/>
                </a:lnTo>
                <a:lnTo>
                  <a:pt x="8148" y="1124404"/>
                </a:lnTo>
                <a:lnTo>
                  <a:pt x="3643" y="1172120"/>
                </a:lnTo>
                <a:lnTo>
                  <a:pt x="916" y="1220332"/>
                </a:lnTo>
                <a:lnTo>
                  <a:pt x="0" y="1269008"/>
                </a:lnTo>
                <a:lnTo>
                  <a:pt x="916" y="1317684"/>
                </a:lnTo>
                <a:lnTo>
                  <a:pt x="3643" y="1365897"/>
                </a:lnTo>
                <a:lnTo>
                  <a:pt x="8148" y="1413614"/>
                </a:lnTo>
                <a:lnTo>
                  <a:pt x="14398" y="1460801"/>
                </a:lnTo>
                <a:lnTo>
                  <a:pt x="22361" y="1507426"/>
                </a:lnTo>
                <a:lnTo>
                  <a:pt x="32003" y="1553456"/>
                </a:lnTo>
                <a:lnTo>
                  <a:pt x="43291" y="1598858"/>
                </a:lnTo>
                <a:lnTo>
                  <a:pt x="56193" y="1643600"/>
                </a:lnTo>
                <a:lnTo>
                  <a:pt x="70676" y="1687648"/>
                </a:lnTo>
                <a:lnTo>
                  <a:pt x="86706" y="1730970"/>
                </a:lnTo>
                <a:lnTo>
                  <a:pt x="104252" y="1773533"/>
                </a:lnTo>
                <a:lnTo>
                  <a:pt x="123280" y="1815303"/>
                </a:lnTo>
                <a:lnTo>
                  <a:pt x="143757" y="1856249"/>
                </a:lnTo>
                <a:lnTo>
                  <a:pt x="165651" y="1896336"/>
                </a:lnTo>
                <a:lnTo>
                  <a:pt x="188928" y="1935533"/>
                </a:lnTo>
                <a:lnTo>
                  <a:pt x="213556" y="1973807"/>
                </a:lnTo>
                <a:lnTo>
                  <a:pt x="239502" y="2011124"/>
                </a:lnTo>
                <a:lnTo>
                  <a:pt x="266733" y="2047452"/>
                </a:lnTo>
                <a:lnTo>
                  <a:pt x="295216" y="2082757"/>
                </a:lnTo>
                <a:lnTo>
                  <a:pt x="324918" y="2117008"/>
                </a:lnTo>
                <a:lnTo>
                  <a:pt x="355807" y="2150171"/>
                </a:lnTo>
                <a:lnTo>
                  <a:pt x="387849" y="2182213"/>
                </a:lnTo>
                <a:lnTo>
                  <a:pt x="421012" y="2213101"/>
                </a:lnTo>
                <a:lnTo>
                  <a:pt x="455263" y="2242804"/>
                </a:lnTo>
                <a:lnTo>
                  <a:pt x="490569" y="2271286"/>
                </a:lnTo>
                <a:lnTo>
                  <a:pt x="526897" y="2298517"/>
                </a:lnTo>
                <a:lnTo>
                  <a:pt x="564214" y="2324463"/>
                </a:lnTo>
                <a:lnTo>
                  <a:pt x="602487" y="2349090"/>
                </a:lnTo>
                <a:lnTo>
                  <a:pt x="641684" y="2372367"/>
                </a:lnTo>
                <a:lnTo>
                  <a:pt x="681772" y="2394261"/>
                </a:lnTo>
                <a:lnTo>
                  <a:pt x="722717" y="2414738"/>
                </a:lnTo>
                <a:lnTo>
                  <a:pt x="764488" y="2433765"/>
                </a:lnTo>
                <a:lnTo>
                  <a:pt x="807050" y="2451311"/>
                </a:lnTo>
                <a:lnTo>
                  <a:pt x="850372" y="2467341"/>
                </a:lnTo>
                <a:lnTo>
                  <a:pt x="894420" y="2481824"/>
                </a:lnTo>
                <a:lnTo>
                  <a:pt x="939161" y="2494726"/>
                </a:lnTo>
                <a:lnTo>
                  <a:pt x="984563" y="2506014"/>
                </a:lnTo>
                <a:lnTo>
                  <a:pt x="1030593" y="2515655"/>
                </a:lnTo>
                <a:lnTo>
                  <a:pt x="1077218" y="2523618"/>
                </a:lnTo>
                <a:lnTo>
                  <a:pt x="1124404" y="2529868"/>
                </a:lnTo>
                <a:lnTo>
                  <a:pt x="1172120" y="2534373"/>
                </a:lnTo>
                <a:lnTo>
                  <a:pt x="1220332" y="2537100"/>
                </a:lnTo>
                <a:lnTo>
                  <a:pt x="1269008" y="2538016"/>
                </a:lnTo>
                <a:close/>
              </a:path>
            </a:pathLst>
          </a:custGeom>
          <a:ln w="136121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92">
              <a:solidFill>
                <a:prstClr val="black"/>
              </a:solidFill>
            </a:endParaRPr>
          </a:p>
        </p:txBody>
      </p:sp>
      <p:sp>
        <p:nvSpPr>
          <p:cNvPr id="86" name="object 12">
            <a:extLst>
              <a:ext uri="{FF2B5EF4-FFF2-40B4-BE49-F238E27FC236}">
                <a16:creationId xmlns:a16="http://schemas.microsoft.com/office/drawing/2014/main" id="{0D7F5809-8485-0DCD-A75F-C7C82FBB2521}"/>
              </a:ext>
            </a:extLst>
          </p:cNvPr>
          <p:cNvSpPr/>
          <p:nvPr userDrawn="1"/>
        </p:nvSpPr>
        <p:spPr>
          <a:xfrm>
            <a:off x="9892244" y="1698140"/>
            <a:ext cx="1539103" cy="1539103"/>
          </a:xfrm>
          <a:custGeom>
            <a:avLst/>
            <a:gdLst/>
            <a:ahLst/>
            <a:cxnLst/>
            <a:rect l="l" t="t" r="r" b="b"/>
            <a:pathLst>
              <a:path w="2538094" h="2538095">
                <a:moveTo>
                  <a:pt x="1269008" y="2538016"/>
                </a:moveTo>
                <a:lnTo>
                  <a:pt x="1317684" y="2537100"/>
                </a:lnTo>
                <a:lnTo>
                  <a:pt x="1365896" y="2534373"/>
                </a:lnTo>
                <a:lnTo>
                  <a:pt x="1413612" y="2529868"/>
                </a:lnTo>
                <a:lnTo>
                  <a:pt x="1460798" y="2523618"/>
                </a:lnTo>
                <a:lnTo>
                  <a:pt x="1507423" y="2515655"/>
                </a:lnTo>
                <a:lnTo>
                  <a:pt x="1553453" y="2506014"/>
                </a:lnTo>
                <a:lnTo>
                  <a:pt x="1598855" y="2494726"/>
                </a:lnTo>
                <a:lnTo>
                  <a:pt x="1643596" y="2481824"/>
                </a:lnTo>
                <a:lnTo>
                  <a:pt x="1687644" y="2467341"/>
                </a:lnTo>
                <a:lnTo>
                  <a:pt x="1730966" y="2451311"/>
                </a:lnTo>
                <a:lnTo>
                  <a:pt x="1773528" y="2433765"/>
                </a:lnTo>
                <a:lnTo>
                  <a:pt x="1815299" y="2414738"/>
                </a:lnTo>
                <a:lnTo>
                  <a:pt x="1856244" y="2394261"/>
                </a:lnTo>
                <a:lnTo>
                  <a:pt x="1896332" y="2372367"/>
                </a:lnTo>
                <a:lnTo>
                  <a:pt x="1935529" y="2349090"/>
                </a:lnTo>
                <a:lnTo>
                  <a:pt x="1973802" y="2324463"/>
                </a:lnTo>
                <a:lnTo>
                  <a:pt x="2011119" y="2298517"/>
                </a:lnTo>
                <a:lnTo>
                  <a:pt x="2047447" y="2271286"/>
                </a:lnTo>
                <a:lnTo>
                  <a:pt x="2082753" y="2242804"/>
                </a:lnTo>
                <a:lnTo>
                  <a:pt x="2117004" y="2213101"/>
                </a:lnTo>
                <a:lnTo>
                  <a:pt x="2150167" y="2182213"/>
                </a:lnTo>
                <a:lnTo>
                  <a:pt x="2182209" y="2150171"/>
                </a:lnTo>
                <a:lnTo>
                  <a:pt x="2213098" y="2117008"/>
                </a:lnTo>
                <a:lnTo>
                  <a:pt x="2242800" y="2082757"/>
                </a:lnTo>
                <a:lnTo>
                  <a:pt x="2271283" y="2047452"/>
                </a:lnTo>
                <a:lnTo>
                  <a:pt x="2298514" y="2011124"/>
                </a:lnTo>
                <a:lnTo>
                  <a:pt x="2324460" y="1973807"/>
                </a:lnTo>
                <a:lnTo>
                  <a:pt x="2349088" y="1935533"/>
                </a:lnTo>
                <a:lnTo>
                  <a:pt x="2372365" y="1896336"/>
                </a:lnTo>
                <a:lnTo>
                  <a:pt x="2394259" y="1856249"/>
                </a:lnTo>
                <a:lnTo>
                  <a:pt x="2414736" y="1815303"/>
                </a:lnTo>
                <a:lnTo>
                  <a:pt x="2433764" y="1773533"/>
                </a:lnTo>
                <a:lnTo>
                  <a:pt x="2451310" y="1730970"/>
                </a:lnTo>
                <a:lnTo>
                  <a:pt x="2467340" y="1687648"/>
                </a:lnTo>
                <a:lnTo>
                  <a:pt x="2481823" y="1643600"/>
                </a:lnTo>
                <a:lnTo>
                  <a:pt x="2494725" y="1598858"/>
                </a:lnTo>
                <a:lnTo>
                  <a:pt x="2506013" y="1553456"/>
                </a:lnTo>
                <a:lnTo>
                  <a:pt x="2515655" y="1507426"/>
                </a:lnTo>
                <a:lnTo>
                  <a:pt x="2523618" y="1460801"/>
                </a:lnTo>
                <a:lnTo>
                  <a:pt x="2529868" y="1413614"/>
                </a:lnTo>
                <a:lnTo>
                  <a:pt x="2534373" y="1365897"/>
                </a:lnTo>
                <a:lnTo>
                  <a:pt x="2537100" y="1317684"/>
                </a:lnTo>
                <a:lnTo>
                  <a:pt x="2538016" y="1269008"/>
                </a:lnTo>
                <a:lnTo>
                  <a:pt x="2537100" y="1220332"/>
                </a:lnTo>
                <a:lnTo>
                  <a:pt x="2534373" y="1172120"/>
                </a:lnTo>
                <a:lnTo>
                  <a:pt x="2529868" y="1124404"/>
                </a:lnTo>
                <a:lnTo>
                  <a:pt x="2523618" y="1077218"/>
                </a:lnTo>
                <a:lnTo>
                  <a:pt x="2515655" y="1030593"/>
                </a:lnTo>
                <a:lnTo>
                  <a:pt x="2506013" y="984563"/>
                </a:lnTo>
                <a:lnTo>
                  <a:pt x="2494725" y="939161"/>
                </a:lnTo>
                <a:lnTo>
                  <a:pt x="2481823" y="894420"/>
                </a:lnTo>
                <a:lnTo>
                  <a:pt x="2467340" y="850372"/>
                </a:lnTo>
                <a:lnTo>
                  <a:pt x="2451310" y="807050"/>
                </a:lnTo>
                <a:lnTo>
                  <a:pt x="2433764" y="764488"/>
                </a:lnTo>
                <a:lnTo>
                  <a:pt x="2414736" y="722717"/>
                </a:lnTo>
                <a:lnTo>
                  <a:pt x="2394259" y="681772"/>
                </a:lnTo>
                <a:lnTo>
                  <a:pt x="2372365" y="641684"/>
                </a:lnTo>
                <a:lnTo>
                  <a:pt x="2349088" y="602487"/>
                </a:lnTo>
                <a:lnTo>
                  <a:pt x="2324460" y="564214"/>
                </a:lnTo>
                <a:lnTo>
                  <a:pt x="2298514" y="526897"/>
                </a:lnTo>
                <a:lnTo>
                  <a:pt x="2271283" y="490569"/>
                </a:lnTo>
                <a:lnTo>
                  <a:pt x="2242800" y="455263"/>
                </a:lnTo>
                <a:lnTo>
                  <a:pt x="2213098" y="421012"/>
                </a:lnTo>
                <a:lnTo>
                  <a:pt x="2182209" y="387849"/>
                </a:lnTo>
                <a:lnTo>
                  <a:pt x="2150167" y="355807"/>
                </a:lnTo>
                <a:lnTo>
                  <a:pt x="2117004" y="324918"/>
                </a:lnTo>
                <a:lnTo>
                  <a:pt x="2082753" y="295216"/>
                </a:lnTo>
                <a:lnTo>
                  <a:pt x="2047447" y="266733"/>
                </a:lnTo>
                <a:lnTo>
                  <a:pt x="2011119" y="239502"/>
                </a:lnTo>
                <a:lnTo>
                  <a:pt x="1973802" y="213556"/>
                </a:lnTo>
                <a:lnTo>
                  <a:pt x="1935529" y="188928"/>
                </a:lnTo>
                <a:lnTo>
                  <a:pt x="1896332" y="165651"/>
                </a:lnTo>
                <a:lnTo>
                  <a:pt x="1856244" y="143757"/>
                </a:lnTo>
                <a:lnTo>
                  <a:pt x="1815299" y="123280"/>
                </a:lnTo>
                <a:lnTo>
                  <a:pt x="1773528" y="104252"/>
                </a:lnTo>
                <a:lnTo>
                  <a:pt x="1730966" y="86706"/>
                </a:lnTo>
                <a:lnTo>
                  <a:pt x="1687644" y="70676"/>
                </a:lnTo>
                <a:lnTo>
                  <a:pt x="1643596" y="56193"/>
                </a:lnTo>
                <a:lnTo>
                  <a:pt x="1598855" y="43291"/>
                </a:lnTo>
                <a:lnTo>
                  <a:pt x="1553453" y="32003"/>
                </a:lnTo>
                <a:lnTo>
                  <a:pt x="1507423" y="22361"/>
                </a:lnTo>
                <a:lnTo>
                  <a:pt x="1460798" y="14398"/>
                </a:lnTo>
                <a:lnTo>
                  <a:pt x="1413612" y="8148"/>
                </a:lnTo>
                <a:lnTo>
                  <a:pt x="1365896" y="3643"/>
                </a:lnTo>
                <a:lnTo>
                  <a:pt x="1317684" y="916"/>
                </a:lnTo>
                <a:lnTo>
                  <a:pt x="1269008" y="0"/>
                </a:lnTo>
                <a:lnTo>
                  <a:pt x="1220332" y="916"/>
                </a:lnTo>
                <a:lnTo>
                  <a:pt x="1172120" y="3643"/>
                </a:lnTo>
                <a:lnTo>
                  <a:pt x="1124404" y="8148"/>
                </a:lnTo>
                <a:lnTo>
                  <a:pt x="1077218" y="14398"/>
                </a:lnTo>
                <a:lnTo>
                  <a:pt x="1030593" y="22361"/>
                </a:lnTo>
                <a:lnTo>
                  <a:pt x="984563" y="32003"/>
                </a:lnTo>
                <a:lnTo>
                  <a:pt x="939161" y="43291"/>
                </a:lnTo>
                <a:lnTo>
                  <a:pt x="894420" y="56193"/>
                </a:lnTo>
                <a:lnTo>
                  <a:pt x="850372" y="70676"/>
                </a:lnTo>
                <a:lnTo>
                  <a:pt x="807050" y="86706"/>
                </a:lnTo>
                <a:lnTo>
                  <a:pt x="764488" y="104252"/>
                </a:lnTo>
                <a:lnTo>
                  <a:pt x="722717" y="123280"/>
                </a:lnTo>
                <a:lnTo>
                  <a:pt x="681772" y="143757"/>
                </a:lnTo>
                <a:lnTo>
                  <a:pt x="641684" y="165651"/>
                </a:lnTo>
                <a:lnTo>
                  <a:pt x="602487" y="188928"/>
                </a:lnTo>
                <a:lnTo>
                  <a:pt x="564214" y="213556"/>
                </a:lnTo>
                <a:lnTo>
                  <a:pt x="526897" y="239502"/>
                </a:lnTo>
                <a:lnTo>
                  <a:pt x="490569" y="266733"/>
                </a:lnTo>
                <a:lnTo>
                  <a:pt x="455263" y="295216"/>
                </a:lnTo>
                <a:lnTo>
                  <a:pt x="421012" y="324918"/>
                </a:lnTo>
                <a:lnTo>
                  <a:pt x="387849" y="355807"/>
                </a:lnTo>
                <a:lnTo>
                  <a:pt x="355807" y="387849"/>
                </a:lnTo>
                <a:lnTo>
                  <a:pt x="324918" y="421012"/>
                </a:lnTo>
                <a:lnTo>
                  <a:pt x="295216" y="455263"/>
                </a:lnTo>
                <a:lnTo>
                  <a:pt x="266733" y="490569"/>
                </a:lnTo>
                <a:lnTo>
                  <a:pt x="239502" y="526897"/>
                </a:lnTo>
                <a:lnTo>
                  <a:pt x="213556" y="564214"/>
                </a:lnTo>
                <a:lnTo>
                  <a:pt x="188928" y="602487"/>
                </a:lnTo>
                <a:lnTo>
                  <a:pt x="165651" y="641684"/>
                </a:lnTo>
                <a:lnTo>
                  <a:pt x="143757" y="681772"/>
                </a:lnTo>
                <a:lnTo>
                  <a:pt x="123280" y="722717"/>
                </a:lnTo>
                <a:lnTo>
                  <a:pt x="104252" y="764488"/>
                </a:lnTo>
                <a:lnTo>
                  <a:pt x="86706" y="807050"/>
                </a:lnTo>
                <a:lnTo>
                  <a:pt x="70676" y="850372"/>
                </a:lnTo>
                <a:lnTo>
                  <a:pt x="56193" y="894420"/>
                </a:lnTo>
                <a:lnTo>
                  <a:pt x="43291" y="939161"/>
                </a:lnTo>
                <a:lnTo>
                  <a:pt x="32003" y="984563"/>
                </a:lnTo>
                <a:lnTo>
                  <a:pt x="22361" y="1030593"/>
                </a:lnTo>
                <a:lnTo>
                  <a:pt x="14398" y="1077218"/>
                </a:lnTo>
                <a:lnTo>
                  <a:pt x="8148" y="1124404"/>
                </a:lnTo>
                <a:lnTo>
                  <a:pt x="3643" y="1172120"/>
                </a:lnTo>
                <a:lnTo>
                  <a:pt x="916" y="1220332"/>
                </a:lnTo>
                <a:lnTo>
                  <a:pt x="0" y="1269008"/>
                </a:lnTo>
                <a:lnTo>
                  <a:pt x="916" y="1317684"/>
                </a:lnTo>
                <a:lnTo>
                  <a:pt x="3643" y="1365897"/>
                </a:lnTo>
                <a:lnTo>
                  <a:pt x="8148" y="1413614"/>
                </a:lnTo>
                <a:lnTo>
                  <a:pt x="14398" y="1460801"/>
                </a:lnTo>
                <a:lnTo>
                  <a:pt x="22361" y="1507426"/>
                </a:lnTo>
                <a:lnTo>
                  <a:pt x="32003" y="1553456"/>
                </a:lnTo>
                <a:lnTo>
                  <a:pt x="43291" y="1598858"/>
                </a:lnTo>
                <a:lnTo>
                  <a:pt x="56193" y="1643600"/>
                </a:lnTo>
                <a:lnTo>
                  <a:pt x="70676" y="1687648"/>
                </a:lnTo>
                <a:lnTo>
                  <a:pt x="86706" y="1730970"/>
                </a:lnTo>
                <a:lnTo>
                  <a:pt x="104252" y="1773533"/>
                </a:lnTo>
                <a:lnTo>
                  <a:pt x="123280" y="1815303"/>
                </a:lnTo>
                <a:lnTo>
                  <a:pt x="143757" y="1856249"/>
                </a:lnTo>
                <a:lnTo>
                  <a:pt x="165651" y="1896336"/>
                </a:lnTo>
                <a:lnTo>
                  <a:pt x="188928" y="1935533"/>
                </a:lnTo>
                <a:lnTo>
                  <a:pt x="213556" y="1973807"/>
                </a:lnTo>
                <a:lnTo>
                  <a:pt x="239502" y="2011124"/>
                </a:lnTo>
                <a:lnTo>
                  <a:pt x="266733" y="2047452"/>
                </a:lnTo>
                <a:lnTo>
                  <a:pt x="295216" y="2082757"/>
                </a:lnTo>
                <a:lnTo>
                  <a:pt x="324918" y="2117008"/>
                </a:lnTo>
                <a:lnTo>
                  <a:pt x="355807" y="2150171"/>
                </a:lnTo>
                <a:lnTo>
                  <a:pt x="387849" y="2182213"/>
                </a:lnTo>
                <a:lnTo>
                  <a:pt x="421012" y="2213101"/>
                </a:lnTo>
                <a:lnTo>
                  <a:pt x="455263" y="2242804"/>
                </a:lnTo>
                <a:lnTo>
                  <a:pt x="490569" y="2271286"/>
                </a:lnTo>
                <a:lnTo>
                  <a:pt x="526897" y="2298517"/>
                </a:lnTo>
                <a:lnTo>
                  <a:pt x="564214" y="2324463"/>
                </a:lnTo>
                <a:lnTo>
                  <a:pt x="602487" y="2349090"/>
                </a:lnTo>
                <a:lnTo>
                  <a:pt x="641684" y="2372367"/>
                </a:lnTo>
                <a:lnTo>
                  <a:pt x="681772" y="2394261"/>
                </a:lnTo>
                <a:lnTo>
                  <a:pt x="722717" y="2414738"/>
                </a:lnTo>
                <a:lnTo>
                  <a:pt x="764488" y="2433765"/>
                </a:lnTo>
                <a:lnTo>
                  <a:pt x="807050" y="2451311"/>
                </a:lnTo>
                <a:lnTo>
                  <a:pt x="850372" y="2467341"/>
                </a:lnTo>
                <a:lnTo>
                  <a:pt x="894420" y="2481824"/>
                </a:lnTo>
                <a:lnTo>
                  <a:pt x="939161" y="2494726"/>
                </a:lnTo>
                <a:lnTo>
                  <a:pt x="984563" y="2506014"/>
                </a:lnTo>
                <a:lnTo>
                  <a:pt x="1030593" y="2515655"/>
                </a:lnTo>
                <a:lnTo>
                  <a:pt x="1077218" y="2523618"/>
                </a:lnTo>
                <a:lnTo>
                  <a:pt x="1124404" y="2529868"/>
                </a:lnTo>
                <a:lnTo>
                  <a:pt x="1172120" y="2534373"/>
                </a:lnTo>
                <a:lnTo>
                  <a:pt x="1220332" y="2537100"/>
                </a:lnTo>
                <a:lnTo>
                  <a:pt x="1269008" y="2538016"/>
                </a:lnTo>
                <a:close/>
              </a:path>
            </a:pathLst>
          </a:custGeom>
          <a:ln w="136121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92">
              <a:solidFill>
                <a:prstClr val="black"/>
              </a:solidFill>
            </a:endParaRPr>
          </a:p>
        </p:txBody>
      </p:sp>
      <p:sp>
        <p:nvSpPr>
          <p:cNvPr id="88" name="object 14">
            <a:extLst>
              <a:ext uri="{FF2B5EF4-FFF2-40B4-BE49-F238E27FC236}">
                <a16:creationId xmlns:a16="http://schemas.microsoft.com/office/drawing/2014/main" id="{0EBBFB4C-2B6E-19C1-2995-6D87BF589FD8}"/>
              </a:ext>
            </a:extLst>
          </p:cNvPr>
          <p:cNvSpPr/>
          <p:nvPr userDrawn="1"/>
        </p:nvSpPr>
        <p:spPr>
          <a:xfrm>
            <a:off x="760701" y="4045916"/>
            <a:ext cx="1539103" cy="1539103"/>
          </a:xfrm>
          <a:custGeom>
            <a:avLst/>
            <a:gdLst/>
            <a:ahLst/>
            <a:cxnLst/>
            <a:rect l="l" t="t" r="r" b="b"/>
            <a:pathLst>
              <a:path w="2538095" h="2538095">
                <a:moveTo>
                  <a:pt x="1269008" y="2538016"/>
                </a:moveTo>
                <a:lnTo>
                  <a:pt x="1317684" y="2537100"/>
                </a:lnTo>
                <a:lnTo>
                  <a:pt x="1365896" y="2534373"/>
                </a:lnTo>
                <a:lnTo>
                  <a:pt x="1413612" y="2529868"/>
                </a:lnTo>
                <a:lnTo>
                  <a:pt x="1460798" y="2523618"/>
                </a:lnTo>
                <a:lnTo>
                  <a:pt x="1507423" y="2515655"/>
                </a:lnTo>
                <a:lnTo>
                  <a:pt x="1553453" y="2506014"/>
                </a:lnTo>
                <a:lnTo>
                  <a:pt x="1598855" y="2494726"/>
                </a:lnTo>
                <a:lnTo>
                  <a:pt x="1643596" y="2481824"/>
                </a:lnTo>
                <a:lnTo>
                  <a:pt x="1687644" y="2467341"/>
                </a:lnTo>
                <a:lnTo>
                  <a:pt x="1730966" y="2451311"/>
                </a:lnTo>
                <a:lnTo>
                  <a:pt x="1773528" y="2433765"/>
                </a:lnTo>
                <a:lnTo>
                  <a:pt x="1815299" y="2414738"/>
                </a:lnTo>
                <a:lnTo>
                  <a:pt x="1856244" y="2394261"/>
                </a:lnTo>
                <a:lnTo>
                  <a:pt x="1896332" y="2372367"/>
                </a:lnTo>
                <a:lnTo>
                  <a:pt x="1935529" y="2349090"/>
                </a:lnTo>
                <a:lnTo>
                  <a:pt x="1973802" y="2324463"/>
                </a:lnTo>
                <a:lnTo>
                  <a:pt x="2011119" y="2298517"/>
                </a:lnTo>
                <a:lnTo>
                  <a:pt x="2047447" y="2271286"/>
                </a:lnTo>
                <a:lnTo>
                  <a:pt x="2082753" y="2242804"/>
                </a:lnTo>
                <a:lnTo>
                  <a:pt x="2117004" y="2213101"/>
                </a:lnTo>
                <a:lnTo>
                  <a:pt x="2150167" y="2182213"/>
                </a:lnTo>
                <a:lnTo>
                  <a:pt x="2182209" y="2150171"/>
                </a:lnTo>
                <a:lnTo>
                  <a:pt x="2213098" y="2117008"/>
                </a:lnTo>
                <a:lnTo>
                  <a:pt x="2242800" y="2082757"/>
                </a:lnTo>
                <a:lnTo>
                  <a:pt x="2271283" y="2047452"/>
                </a:lnTo>
                <a:lnTo>
                  <a:pt x="2298514" y="2011124"/>
                </a:lnTo>
                <a:lnTo>
                  <a:pt x="2324460" y="1973807"/>
                </a:lnTo>
                <a:lnTo>
                  <a:pt x="2349088" y="1935533"/>
                </a:lnTo>
                <a:lnTo>
                  <a:pt x="2372365" y="1896336"/>
                </a:lnTo>
                <a:lnTo>
                  <a:pt x="2394259" y="1856249"/>
                </a:lnTo>
                <a:lnTo>
                  <a:pt x="2414736" y="1815303"/>
                </a:lnTo>
                <a:lnTo>
                  <a:pt x="2433764" y="1773533"/>
                </a:lnTo>
                <a:lnTo>
                  <a:pt x="2451310" y="1730970"/>
                </a:lnTo>
                <a:lnTo>
                  <a:pt x="2467340" y="1687648"/>
                </a:lnTo>
                <a:lnTo>
                  <a:pt x="2481823" y="1643600"/>
                </a:lnTo>
                <a:lnTo>
                  <a:pt x="2494725" y="1598858"/>
                </a:lnTo>
                <a:lnTo>
                  <a:pt x="2506013" y="1553456"/>
                </a:lnTo>
                <a:lnTo>
                  <a:pt x="2515655" y="1507426"/>
                </a:lnTo>
                <a:lnTo>
                  <a:pt x="2523618" y="1460801"/>
                </a:lnTo>
                <a:lnTo>
                  <a:pt x="2529868" y="1413614"/>
                </a:lnTo>
                <a:lnTo>
                  <a:pt x="2534373" y="1365897"/>
                </a:lnTo>
                <a:lnTo>
                  <a:pt x="2537100" y="1317684"/>
                </a:lnTo>
                <a:lnTo>
                  <a:pt x="2538016" y="1269008"/>
                </a:lnTo>
                <a:lnTo>
                  <a:pt x="2537100" y="1220332"/>
                </a:lnTo>
                <a:lnTo>
                  <a:pt x="2534373" y="1172120"/>
                </a:lnTo>
                <a:lnTo>
                  <a:pt x="2529868" y="1124404"/>
                </a:lnTo>
                <a:lnTo>
                  <a:pt x="2523618" y="1077218"/>
                </a:lnTo>
                <a:lnTo>
                  <a:pt x="2515655" y="1030593"/>
                </a:lnTo>
                <a:lnTo>
                  <a:pt x="2506013" y="984563"/>
                </a:lnTo>
                <a:lnTo>
                  <a:pt x="2494725" y="939161"/>
                </a:lnTo>
                <a:lnTo>
                  <a:pt x="2481823" y="894420"/>
                </a:lnTo>
                <a:lnTo>
                  <a:pt x="2467340" y="850372"/>
                </a:lnTo>
                <a:lnTo>
                  <a:pt x="2451310" y="807050"/>
                </a:lnTo>
                <a:lnTo>
                  <a:pt x="2433764" y="764488"/>
                </a:lnTo>
                <a:lnTo>
                  <a:pt x="2414736" y="722717"/>
                </a:lnTo>
                <a:lnTo>
                  <a:pt x="2394259" y="681772"/>
                </a:lnTo>
                <a:lnTo>
                  <a:pt x="2372365" y="641684"/>
                </a:lnTo>
                <a:lnTo>
                  <a:pt x="2349088" y="602487"/>
                </a:lnTo>
                <a:lnTo>
                  <a:pt x="2324460" y="564214"/>
                </a:lnTo>
                <a:lnTo>
                  <a:pt x="2298514" y="526897"/>
                </a:lnTo>
                <a:lnTo>
                  <a:pt x="2271283" y="490569"/>
                </a:lnTo>
                <a:lnTo>
                  <a:pt x="2242800" y="455263"/>
                </a:lnTo>
                <a:lnTo>
                  <a:pt x="2213098" y="421012"/>
                </a:lnTo>
                <a:lnTo>
                  <a:pt x="2182209" y="387849"/>
                </a:lnTo>
                <a:lnTo>
                  <a:pt x="2150167" y="355807"/>
                </a:lnTo>
                <a:lnTo>
                  <a:pt x="2117004" y="324918"/>
                </a:lnTo>
                <a:lnTo>
                  <a:pt x="2082753" y="295216"/>
                </a:lnTo>
                <a:lnTo>
                  <a:pt x="2047447" y="266733"/>
                </a:lnTo>
                <a:lnTo>
                  <a:pt x="2011119" y="239502"/>
                </a:lnTo>
                <a:lnTo>
                  <a:pt x="1973802" y="213556"/>
                </a:lnTo>
                <a:lnTo>
                  <a:pt x="1935529" y="188928"/>
                </a:lnTo>
                <a:lnTo>
                  <a:pt x="1896332" y="165651"/>
                </a:lnTo>
                <a:lnTo>
                  <a:pt x="1856244" y="143757"/>
                </a:lnTo>
                <a:lnTo>
                  <a:pt x="1815299" y="123280"/>
                </a:lnTo>
                <a:lnTo>
                  <a:pt x="1773528" y="104252"/>
                </a:lnTo>
                <a:lnTo>
                  <a:pt x="1730966" y="86706"/>
                </a:lnTo>
                <a:lnTo>
                  <a:pt x="1687644" y="70676"/>
                </a:lnTo>
                <a:lnTo>
                  <a:pt x="1643596" y="56193"/>
                </a:lnTo>
                <a:lnTo>
                  <a:pt x="1598855" y="43291"/>
                </a:lnTo>
                <a:lnTo>
                  <a:pt x="1553453" y="32003"/>
                </a:lnTo>
                <a:lnTo>
                  <a:pt x="1507423" y="22361"/>
                </a:lnTo>
                <a:lnTo>
                  <a:pt x="1460798" y="14398"/>
                </a:lnTo>
                <a:lnTo>
                  <a:pt x="1413612" y="8148"/>
                </a:lnTo>
                <a:lnTo>
                  <a:pt x="1365896" y="3643"/>
                </a:lnTo>
                <a:lnTo>
                  <a:pt x="1317684" y="916"/>
                </a:lnTo>
                <a:lnTo>
                  <a:pt x="1269008" y="0"/>
                </a:lnTo>
                <a:lnTo>
                  <a:pt x="1220332" y="916"/>
                </a:lnTo>
                <a:lnTo>
                  <a:pt x="1172120" y="3643"/>
                </a:lnTo>
                <a:lnTo>
                  <a:pt x="1124404" y="8148"/>
                </a:lnTo>
                <a:lnTo>
                  <a:pt x="1077218" y="14398"/>
                </a:lnTo>
                <a:lnTo>
                  <a:pt x="1030593" y="22361"/>
                </a:lnTo>
                <a:lnTo>
                  <a:pt x="984563" y="32003"/>
                </a:lnTo>
                <a:lnTo>
                  <a:pt x="939161" y="43291"/>
                </a:lnTo>
                <a:lnTo>
                  <a:pt x="894420" y="56193"/>
                </a:lnTo>
                <a:lnTo>
                  <a:pt x="850372" y="70676"/>
                </a:lnTo>
                <a:lnTo>
                  <a:pt x="807050" y="86706"/>
                </a:lnTo>
                <a:lnTo>
                  <a:pt x="764488" y="104252"/>
                </a:lnTo>
                <a:lnTo>
                  <a:pt x="722717" y="123280"/>
                </a:lnTo>
                <a:lnTo>
                  <a:pt x="681772" y="143757"/>
                </a:lnTo>
                <a:lnTo>
                  <a:pt x="641684" y="165651"/>
                </a:lnTo>
                <a:lnTo>
                  <a:pt x="602487" y="188928"/>
                </a:lnTo>
                <a:lnTo>
                  <a:pt x="564214" y="213556"/>
                </a:lnTo>
                <a:lnTo>
                  <a:pt x="526897" y="239502"/>
                </a:lnTo>
                <a:lnTo>
                  <a:pt x="490569" y="266733"/>
                </a:lnTo>
                <a:lnTo>
                  <a:pt x="455263" y="295216"/>
                </a:lnTo>
                <a:lnTo>
                  <a:pt x="421012" y="324918"/>
                </a:lnTo>
                <a:lnTo>
                  <a:pt x="387849" y="355807"/>
                </a:lnTo>
                <a:lnTo>
                  <a:pt x="355807" y="387849"/>
                </a:lnTo>
                <a:lnTo>
                  <a:pt x="324918" y="421012"/>
                </a:lnTo>
                <a:lnTo>
                  <a:pt x="295216" y="455263"/>
                </a:lnTo>
                <a:lnTo>
                  <a:pt x="266733" y="490569"/>
                </a:lnTo>
                <a:lnTo>
                  <a:pt x="239502" y="526897"/>
                </a:lnTo>
                <a:lnTo>
                  <a:pt x="213556" y="564214"/>
                </a:lnTo>
                <a:lnTo>
                  <a:pt x="188928" y="602487"/>
                </a:lnTo>
                <a:lnTo>
                  <a:pt x="165651" y="641684"/>
                </a:lnTo>
                <a:lnTo>
                  <a:pt x="143757" y="681772"/>
                </a:lnTo>
                <a:lnTo>
                  <a:pt x="123280" y="722717"/>
                </a:lnTo>
                <a:lnTo>
                  <a:pt x="104252" y="764488"/>
                </a:lnTo>
                <a:lnTo>
                  <a:pt x="86706" y="807050"/>
                </a:lnTo>
                <a:lnTo>
                  <a:pt x="70676" y="850372"/>
                </a:lnTo>
                <a:lnTo>
                  <a:pt x="56193" y="894420"/>
                </a:lnTo>
                <a:lnTo>
                  <a:pt x="43291" y="939161"/>
                </a:lnTo>
                <a:lnTo>
                  <a:pt x="32003" y="984563"/>
                </a:lnTo>
                <a:lnTo>
                  <a:pt x="22361" y="1030593"/>
                </a:lnTo>
                <a:lnTo>
                  <a:pt x="14398" y="1077218"/>
                </a:lnTo>
                <a:lnTo>
                  <a:pt x="8148" y="1124404"/>
                </a:lnTo>
                <a:lnTo>
                  <a:pt x="3643" y="1172120"/>
                </a:lnTo>
                <a:lnTo>
                  <a:pt x="916" y="1220332"/>
                </a:lnTo>
                <a:lnTo>
                  <a:pt x="0" y="1269008"/>
                </a:lnTo>
                <a:lnTo>
                  <a:pt x="916" y="1317684"/>
                </a:lnTo>
                <a:lnTo>
                  <a:pt x="3643" y="1365897"/>
                </a:lnTo>
                <a:lnTo>
                  <a:pt x="8148" y="1413614"/>
                </a:lnTo>
                <a:lnTo>
                  <a:pt x="14398" y="1460801"/>
                </a:lnTo>
                <a:lnTo>
                  <a:pt x="22361" y="1507426"/>
                </a:lnTo>
                <a:lnTo>
                  <a:pt x="32003" y="1553456"/>
                </a:lnTo>
                <a:lnTo>
                  <a:pt x="43291" y="1598858"/>
                </a:lnTo>
                <a:lnTo>
                  <a:pt x="56193" y="1643600"/>
                </a:lnTo>
                <a:lnTo>
                  <a:pt x="70676" y="1687648"/>
                </a:lnTo>
                <a:lnTo>
                  <a:pt x="86706" y="1730970"/>
                </a:lnTo>
                <a:lnTo>
                  <a:pt x="104252" y="1773533"/>
                </a:lnTo>
                <a:lnTo>
                  <a:pt x="123280" y="1815303"/>
                </a:lnTo>
                <a:lnTo>
                  <a:pt x="143757" y="1856249"/>
                </a:lnTo>
                <a:lnTo>
                  <a:pt x="165651" y="1896336"/>
                </a:lnTo>
                <a:lnTo>
                  <a:pt x="188928" y="1935533"/>
                </a:lnTo>
                <a:lnTo>
                  <a:pt x="213556" y="1973807"/>
                </a:lnTo>
                <a:lnTo>
                  <a:pt x="239502" y="2011124"/>
                </a:lnTo>
                <a:lnTo>
                  <a:pt x="266733" y="2047452"/>
                </a:lnTo>
                <a:lnTo>
                  <a:pt x="295216" y="2082757"/>
                </a:lnTo>
                <a:lnTo>
                  <a:pt x="324918" y="2117008"/>
                </a:lnTo>
                <a:lnTo>
                  <a:pt x="355807" y="2150171"/>
                </a:lnTo>
                <a:lnTo>
                  <a:pt x="387849" y="2182213"/>
                </a:lnTo>
                <a:lnTo>
                  <a:pt x="421012" y="2213101"/>
                </a:lnTo>
                <a:lnTo>
                  <a:pt x="455263" y="2242804"/>
                </a:lnTo>
                <a:lnTo>
                  <a:pt x="490569" y="2271286"/>
                </a:lnTo>
                <a:lnTo>
                  <a:pt x="526897" y="2298517"/>
                </a:lnTo>
                <a:lnTo>
                  <a:pt x="564214" y="2324463"/>
                </a:lnTo>
                <a:lnTo>
                  <a:pt x="602487" y="2349090"/>
                </a:lnTo>
                <a:lnTo>
                  <a:pt x="641684" y="2372367"/>
                </a:lnTo>
                <a:lnTo>
                  <a:pt x="681772" y="2394261"/>
                </a:lnTo>
                <a:lnTo>
                  <a:pt x="722717" y="2414738"/>
                </a:lnTo>
                <a:lnTo>
                  <a:pt x="764488" y="2433765"/>
                </a:lnTo>
                <a:lnTo>
                  <a:pt x="807050" y="2451311"/>
                </a:lnTo>
                <a:lnTo>
                  <a:pt x="850372" y="2467341"/>
                </a:lnTo>
                <a:lnTo>
                  <a:pt x="894420" y="2481824"/>
                </a:lnTo>
                <a:lnTo>
                  <a:pt x="939161" y="2494726"/>
                </a:lnTo>
                <a:lnTo>
                  <a:pt x="984563" y="2506014"/>
                </a:lnTo>
                <a:lnTo>
                  <a:pt x="1030593" y="2515655"/>
                </a:lnTo>
                <a:lnTo>
                  <a:pt x="1077218" y="2523618"/>
                </a:lnTo>
                <a:lnTo>
                  <a:pt x="1124404" y="2529868"/>
                </a:lnTo>
                <a:lnTo>
                  <a:pt x="1172120" y="2534373"/>
                </a:lnTo>
                <a:lnTo>
                  <a:pt x="1220332" y="2537100"/>
                </a:lnTo>
                <a:lnTo>
                  <a:pt x="1269008" y="2538016"/>
                </a:lnTo>
                <a:close/>
              </a:path>
            </a:pathLst>
          </a:custGeom>
          <a:ln w="136121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50">
              <a:solidFill>
                <a:prstClr val="black"/>
              </a:solidFill>
            </a:endParaRPr>
          </a:p>
        </p:txBody>
      </p:sp>
      <p:sp>
        <p:nvSpPr>
          <p:cNvPr id="90" name="object 16">
            <a:extLst>
              <a:ext uri="{FF2B5EF4-FFF2-40B4-BE49-F238E27FC236}">
                <a16:creationId xmlns:a16="http://schemas.microsoft.com/office/drawing/2014/main" id="{BE072338-85D4-0585-C168-78C2F61D7D56}"/>
              </a:ext>
            </a:extLst>
          </p:cNvPr>
          <p:cNvSpPr/>
          <p:nvPr userDrawn="1"/>
        </p:nvSpPr>
        <p:spPr>
          <a:xfrm>
            <a:off x="5326472" y="4045916"/>
            <a:ext cx="1539103" cy="1539103"/>
          </a:xfrm>
          <a:custGeom>
            <a:avLst/>
            <a:gdLst/>
            <a:ahLst/>
            <a:cxnLst/>
            <a:rect l="l" t="t" r="r" b="b"/>
            <a:pathLst>
              <a:path w="2538095" h="2538095">
                <a:moveTo>
                  <a:pt x="1269008" y="2538016"/>
                </a:moveTo>
                <a:lnTo>
                  <a:pt x="1317684" y="2537100"/>
                </a:lnTo>
                <a:lnTo>
                  <a:pt x="1365896" y="2534373"/>
                </a:lnTo>
                <a:lnTo>
                  <a:pt x="1413612" y="2529868"/>
                </a:lnTo>
                <a:lnTo>
                  <a:pt x="1460798" y="2523618"/>
                </a:lnTo>
                <a:lnTo>
                  <a:pt x="1507423" y="2515655"/>
                </a:lnTo>
                <a:lnTo>
                  <a:pt x="1553453" y="2506014"/>
                </a:lnTo>
                <a:lnTo>
                  <a:pt x="1598855" y="2494726"/>
                </a:lnTo>
                <a:lnTo>
                  <a:pt x="1643596" y="2481824"/>
                </a:lnTo>
                <a:lnTo>
                  <a:pt x="1687644" y="2467341"/>
                </a:lnTo>
                <a:lnTo>
                  <a:pt x="1730966" y="2451311"/>
                </a:lnTo>
                <a:lnTo>
                  <a:pt x="1773528" y="2433765"/>
                </a:lnTo>
                <a:lnTo>
                  <a:pt x="1815299" y="2414738"/>
                </a:lnTo>
                <a:lnTo>
                  <a:pt x="1856244" y="2394261"/>
                </a:lnTo>
                <a:lnTo>
                  <a:pt x="1896332" y="2372367"/>
                </a:lnTo>
                <a:lnTo>
                  <a:pt x="1935529" y="2349090"/>
                </a:lnTo>
                <a:lnTo>
                  <a:pt x="1973802" y="2324463"/>
                </a:lnTo>
                <a:lnTo>
                  <a:pt x="2011119" y="2298517"/>
                </a:lnTo>
                <a:lnTo>
                  <a:pt x="2047447" y="2271286"/>
                </a:lnTo>
                <a:lnTo>
                  <a:pt x="2082753" y="2242804"/>
                </a:lnTo>
                <a:lnTo>
                  <a:pt x="2117004" y="2213101"/>
                </a:lnTo>
                <a:lnTo>
                  <a:pt x="2150167" y="2182213"/>
                </a:lnTo>
                <a:lnTo>
                  <a:pt x="2182209" y="2150171"/>
                </a:lnTo>
                <a:lnTo>
                  <a:pt x="2213098" y="2117008"/>
                </a:lnTo>
                <a:lnTo>
                  <a:pt x="2242800" y="2082757"/>
                </a:lnTo>
                <a:lnTo>
                  <a:pt x="2271283" y="2047452"/>
                </a:lnTo>
                <a:lnTo>
                  <a:pt x="2298514" y="2011124"/>
                </a:lnTo>
                <a:lnTo>
                  <a:pt x="2324460" y="1973807"/>
                </a:lnTo>
                <a:lnTo>
                  <a:pt x="2349088" y="1935533"/>
                </a:lnTo>
                <a:lnTo>
                  <a:pt x="2372365" y="1896336"/>
                </a:lnTo>
                <a:lnTo>
                  <a:pt x="2394259" y="1856249"/>
                </a:lnTo>
                <a:lnTo>
                  <a:pt x="2414736" y="1815303"/>
                </a:lnTo>
                <a:lnTo>
                  <a:pt x="2433764" y="1773533"/>
                </a:lnTo>
                <a:lnTo>
                  <a:pt x="2451310" y="1730970"/>
                </a:lnTo>
                <a:lnTo>
                  <a:pt x="2467340" y="1687648"/>
                </a:lnTo>
                <a:lnTo>
                  <a:pt x="2481823" y="1643600"/>
                </a:lnTo>
                <a:lnTo>
                  <a:pt x="2494725" y="1598858"/>
                </a:lnTo>
                <a:lnTo>
                  <a:pt x="2506013" y="1553456"/>
                </a:lnTo>
                <a:lnTo>
                  <a:pt x="2515655" y="1507426"/>
                </a:lnTo>
                <a:lnTo>
                  <a:pt x="2523618" y="1460801"/>
                </a:lnTo>
                <a:lnTo>
                  <a:pt x="2529868" y="1413614"/>
                </a:lnTo>
                <a:lnTo>
                  <a:pt x="2534373" y="1365897"/>
                </a:lnTo>
                <a:lnTo>
                  <a:pt x="2537100" y="1317684"/>
                </a:lnTo>
                <a:lnTo>
                  <a:pt x="2538016" y="1269008"/>
                </a:lnTo>
                <a:lnTo>
                  <a:pt x="2537100" y="1220332"/>
                </a:lnTo>
                <a:lnTo>
                  <a:pt x="2534373" y="1172120"/>
                </a:lnTo>
                <a:lnTo>
                  <a:pt x="2529868" y="1124404"/>
                </a:lnTo>
                <a:lnTo>
                  <a:pt x="2523618" y="1077218"/>
                </a:lnTo>
                <a:lnTo>
                  <a:pt x="2515655" y="1030593"/>
                </a:lnTo>
                <a:lnTo>
                  <a:pt x="2506013" y="984563"/>
                </a:lnTo>
                <a:lnTo>
                  <a:pt x="2494725" y="939161"/>
                </a:lnTo>
                <a:lnTo>
                  <a:pt x="2481823" y="894420"/>
                </a:lnTo>
                <a:lnTo>
                  <a:pt x="2467340" y="850372"/>
                </a:lnTo>
                <a:lnTo>
                  <a:pt x="2451310" y="807050"/>
                </a:lnTo>
                <a:lnTo>
                  <a:pt x="2433764" y="764488"/>
                </a:lnTo>
                <a:lnTo>
                  <a:pt x="2414736" y="722717"/>
                </a:lnTo>
                <a:lnTo>
                  <a:pt x="2394259" y="681772"/>
                </a:lnTo>
                <a:lnTo>
                  <a:pt x="2372365" y="641684"/>
                </a:lnTo>
                <a:lnTo>
                  <a:pt x="2349088" y="602487"/>
                </a:lnTo>
                <a:lnTo>
                  <a:pt x="2324460" y="564214"/>
                </a:lnTo>
                <a:lnTo>
                  <a:pt x="2298514" y="526897"/>
                </a:lnTo>
                <a:lnTo>
                  <a:pt x="2271283" y="490569"/>
                </a:lnTo>
                <a:lnTo>
                  <a:pt x="2242800" y="455263"/>
                </a:lnTo>
                <a:lnTo>
                  <a:pt x="2213098" y="421012"/>
                </a:lnTo>
                <a:lnTo>
                  <a:pt x="2182209" y="387849"/>
                </a:lnTo>
                <a:lnTo>
                  <a:pt x="2150167" y="355807"/>
                </a:lnTo>
                <a:lnTo>
                  <a:pt x="2117004" y="324918"/>
                </a:lnTo>
                <a:lnTo>
                  <a:pt x="2082753" y="295216"/>
                </a:lnTo>
                <a:lnTo>
                  <a:pt x="2047447" y="266733"/>
                </a:lnTo>
                <a:lnTo>
                  <a:pt x="2011119" y="239502"/>
                </a:lnTo>
                <a:lnTo>
                  <a:pt x="1973802" y="213556"/>
                </a:lnTo>
                <a:lnTo>
                  <a:pt x="1935529" y="188928"/>
                </a:lnTo>
                <a:lnTo>
                  <a:pt x="1896332" y="165651"/>
                </a:lnTo>
                <a:lnTo>
                  <a:pt x="1856244" y="143757"/>
                </a:lnTo>
                <a:lnTo>
                  <a:pt x="1815299" y="123280"/>
                </a:lnTo>
                <a:lnTo>
                  <a:pt x="1773528" y="104252"/>
                </a:lnTo>
                <a:lnTo>
                  <a:pt x="1730966" y="86706"/>
                </a:lnTo>
                <a:lnTo>
                  <a:pt x="1687644" y="70676"/>
                </a:lnTo>
                <a:lnTo>
                  <a:pt x="1643596" y="56193"/>
                </a:lnTo>
                <a:lnTo>
                  <a:pt x="1598855" y="43291"/>
                </a:lnTo>
                <a:lnTo>
                  <a:pt x="1553453" y="32003"/>
                </a:lnTo>
                <a:lnTo>
                  <a:pt x="1507423" y="22361"/>
                </a:lnTo>
                <a:lnTo>
                  <a:pt x="1460798" y="14398"/>
                </a:lnTo>
                <a:lnTo>
                  <a:pt x="1413612" y="8148"/>
                </a:lnTo>
                <a:lnTo>
                  <a:pt x="1365896" y="3643"/>
                </a:lnTo>
                <a:lnTo>
                  <a:pt x="1317684" y="916"/>
                </a:lnTo>
                <a:lnTo>
                  <a:pt x="1269008" y="0"/>
                </a:lnTo>
                <a:lnTo>
                  <a:pt x="1220332" y="916"/>
                </a:lnTo>
                <a:lnTo>
                  <a:pt x="1172120" y="3643"/>
                </a:lnTo>
                <a:lnTo>
                  <a:pt x="1124404" y="8148"/>
                </a:lnTo>
                <a:lnTo>
                  <a:pt x="1077218" y="14398"/>
                </a:lnTo>
                <a:lnTo>
                  <a:pt x="1030593" y="22361"/>
                </a:lnTo>
                <a:lnTo>
                  <a:pt x="984563" y="32003"/>
                </a:lnTo>
                <a:lnTo>
                  <a:pt x="939161" y="43291"/>
                </a:lnTo>
                <a:lnTo>
                  <a:pt x="894420" y="56193"/>
                </a:lnTo>
                <a:lnTo>
                  <a:pt x="850372" y="70676"/>
                </a:lnTo>
                <a:lnTo>
                  <a:pt x="807050" y="86706"/>
                </a:lnTo>
                <a:lnTo>
                  <a:pt x="764488" y="104252"/>
                </a:lnTo>
                <a:lnTo>
                  <a:pt x="722717" y="123280"/>
                </a:lnTo>
                <a:lnTo>
                  <a:pt x="681772" y="143757"/>
                </a:lnTo>
                <a:lnTo>
                  <a:pt x="641684" y="165651"/>
                </a:lnTo>
                <a:lnTo>
                  <a:pt x="602487" y="188928"/>
                </a:lnTo>
                <a:lnTo>
                  <a:pt x="564214" y="213556"/>
                </a:lnTo>
                <a:lnTo>
                  <a:pt x="526897" y="239502"/>
                </a:lnTo>
                <a:lnTo>
                  <a:pt x="490569" y="266733"/>
                </a:lnTo>
                <a:lnTo>
                  <a:pt x="455263" y="295216"/>
                </a:lnTo>
                <a:lnTo>
                  <a:pt x="421012" y="324918"/>
                </a:lnTo>
                <a:lnTo>
                  <a:pt x="387849" y="355807"/>
                </a:lnTo>
                <a:lnTo>
                  <a:pt x="355807" y="387849"/>
                </a:lnTo>
                <a:lnTo>
                  <a:pt x="324918" y="421012"/>
                </a:lnTo>
                <a:lnTo>
                  <a:pt x="295216" y="455263"/>
                </a:lnTo>
                <a:lnTo>
                  <a:pt x="266733" y="490569"/>
                </a:lnTo>
                <a:lnTo>
                  <a:pt x="239502" y="526897"/>
                </a:lnTo>
                <a:lnTo>
                  <a:pt x="213556" y="564214"/>
                </a:lnTo>
                <a:lnTo>
                  <a:pt x="188928" y="602487"/>
                </a:lnTo>
                <a:lnTo>
                  <a:pt x="165651" y="641684"/>
                </a:lnTo>
                <a:lnTo>
                  <a:pt x="143757" y="681772"/>
                </a:lnTo>
                <a:lnTo>
                  <a:pt x="123280" y="722717"/>
                </a:lnTo>
                <a:lnTo>
                  <a:pt x="104252" y="764488"/>
                </a:lnTo>
                <a:lnTo>
                  <a:pt x="86706" y="807050"/>
                </a:lnTo>
                <a:lnTo>
                  <a:pt x="70676" y="850372"/>
                </a:lnTo>
                <a:lnTo>
                  <a:pt x="56193" y="894420"/>
                </a:lnTo>
                <a:lnTo>
                  <a:pt x="43291" y="939161"/>
                </a:lnTo>
                <a:lnTo>
                  <a:pt x="32003" y="984563"/>
                </a:lnTo>
                <a:lnTo>
                  <a:pt x="22361" y="1030593"/>
                </a:lnTo>
                <a:lnTo>
                  <a:pt x="14398" y="1077218"/>
                </a:lnTo>
                <a:lnTo>
                  <a:pt x="8148" y="1124404"/>
                </a:lnTo>
                <a:lnTo>
                  <a:pt x="3643" y="1172120"/>
                </a:lnTo>
                <a:lnTo>
                  <a:pt x="916" y="1220332"/>
                </a:lnTo>
                <a:lnTo>
                  <a:pt x="0" y="1269008"/>
                </a:lnTo>
                <a:lnTo>
                  <a:pt x="916" y="1317684"/>
                </a:lnTo>
                <a:lnTo>
                  <a:pt x="3643" y="1365897"/>
                </a:lnTo>
                <a:lnTo>
                  <a:pt x="8148" y="1413614"/>
                </a:lnTo>
                <a:lnTo>
                  <a:pt x="14398" y="1460801"/>
                </a:lnTo>
                <a:lnTo>
                  <a:pt x="22361" y="1507426"/>
                </a:lnTo>
                <a:lnTo>
                  <a:pt x="32003" y="1553456"/>
                </a:lnTo>
                <a:lnTo>
                  <a:pt x="43291" y="1598858"/>
                </a:lnTo>
                <a:lnTo>
                  <a:pt x="56193" y="1643600"/>
                </a:lnTo>
                <a:lnTo>
                  <a:pt x="70676" y="1687648"/>
                </a:lnTo>
                <a:lnTo>
                  <a:pt x="86706" y="1730970"/>
                </a:lnTo>
                <a:lnTo>
                  <a:pt x="104252" y="1773533"/>
                </a:lnTo>
                <a:lnTo>
                  <a:pt x="123280" y="1815303"/>
                </a:lnTo>
                <a:lnTo>
                  <a:pt x="143757" y="1856249"/>
                </a:lnTo>
                <a:lnTo>
                  <a:pt x="165651" y="1896336"/>
                </a:lnTo>
                <a:lnTo>
                  <a:pt x="188928" y="1935533"/>
                </a:lnTo>
                <a:lnTo>
                  <a:pt x="213556" y="1973807"/>
                </a:lnTo>
                <a:lnTo>
                  <a:pt x="239502" y="2011124"/>
                </a:lnTo>
                <a:lnTo>
                  <a:pt x="266733" y="2047452"/>
                </a:lnTo>
                <a:lnTo>
                  <a:pt x="295216" y="2082757"/>
                </a:lnTo>
                <a:lnTo>
                  <a:pt x="324918" y="2117008"/>
                </a:lnTo>
                <a:lnTo>
                  <a:pt x="355807" y="2150171"/>
                </a:lnTo>
                <a:lnTo>
                  <a:pt x="387849" y="2182213"/>
                </a:lnTo>
                <a:lnTo>
                  <a:pt x="421012" y="2213101"/>
                </a:lnTo>
                <a:lnTo>
                  <a:pt x="455263" y="2242804"/>
                </a:lnTo>
                <a:lnTo>
                  <a:pt x="490569" y="2271286"/>
                </a:lnTo>
                <a:lnTo>
                  <a:pt x="526897" y="2298517"/>
                </a:lnTo>
                <a:lnTo>
                  <a:pt x="564214" y="2324463"/>
                </a:lnTo>
                <a:lnTo>
                  <a:pt x="602487" y="2349090"/>
                </a:lnTo>
                <a:lnTo>
                  <a:pt x="641684" y="2372367"/>
                </a:lnTo>
                <a:lnTo>
                  <a:pt x="681772" y="2394261"/>
                </a:lnTo>
                <a:lnTo>
                  <a:pt x="722717" y="2414738"/>
                </a:lnTo>
                <a:lnTo>
                  <a:pt x="764488" y="2433765"/>
                </a:lnTo>
                <a:lnTo>
                  <a:pt x="807050" y="2451311"/>
                </a:lnTo>
                <a:lnTo>
                  <a:pt x="850372" y="2467341"/>
                </a:lnTo>
                <a:lnTo>
                  <a:pt x="894420" y="2481824"/>
                </a:lnTo>
                <a:lnTo>
                  <a:pt x="939161" y="2494726"/>
                </a:lnTo>
                <a:lnTo>
                  <a:pt x="984563" y="2506014"/>
                </a:lnTo>
                <a:lnTo>
                  <a:pt x="1030593" y="2515655"/>
                </a:lnTo>
                <a:lnTo>
                  <a:pt x="1077218" y="2523618"/>
                </a:lnTo>
                <a:lnTo>
                  <a:pt x="1124404" y="2529868"/>
                </a:lnTo>
                <a:lnTo>
                  <a:pt x="1172120" y="2534373"/>
                </a:lnTo>
                <a:lnTo>
                  <a:pt x="1220332" y="2537100"/>
                </a:lnTo>
                <a:lnTo>
                  <a:pt x="1269008" y="2538016"/>
                </a:lnTo>
                <a:close/>
              </a:path>
            </a:pathLst>
          </a:custGeom>
          <a:ln w="136121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50">
              <a:solidFill>
                <a:prstClr val="black"/>
              </a:solidFill>
            </a:endParaRPr>
          </a:p>
        </p:txBody>
      </p:sp>
      <p:sp>
        <p:nvSpPr>
          <p:cNvPr id="92" name="object 18">
            <a:extLst>
              <a:ext uri="{FF2B5EF4-FFF2-40B4-BE49-F238E27FC236}">
                <a16:creationId xmlns:a16="http://schemas.microsoft.com/office/drawing/2014/main" id="{5366FCF3-C33E-02DC-0457-E53F49B8E866}"/>
              </a:ext>
            </a:extLst>
          </p:cNvPr>
          <p:cNvSpPr/>
          <p:nvPr userDrawn="1"/>
        </p:nvSpPr>
        <p:spPr>
          <a:xfrm>
            <a:off x="3043586" y="4045916"/>
            <a:ext cx="1539103" cy="1539103"/>
          </a:xfrm>
          <a:custGeom>
            <a:avLst/>
            <a:gdLst/>
            <a:ahLst/>
            <a:cxnLst/>
            <a:rect l="l" t="t" r="r" b="b"/>
            <a:pathLst>
              <a:path w="2538095" h="2538095">
                <a:moveTo>
                  <a:pt x="1269008" y="2538016"/>
                </a:moveTo>
                <a:lnTo>
                  <a:pt x="1317684" y="2537100"/>
                </a:lnTo>
                <a:lnTo>
                  <a:pt x="1365896" y="2534373"/>
                </a:lnTo>
                <a:lnTo>
                  <a:pt x="1413612" y="2529868"/>
                </a:lnTo>
                <a:lnTo>
                  <a:pt x="1460798" y="2523618"/>
                </a:lnTo>
                <a:lnTo>
                  <a:pt x="1507423" y="2515655"/>
                </a:lnTo>
                <a:lnTo>
                  <a:pt x="1553453" y="2506014"/>
                </a:lnTo>
                <a:lnTo>
                  <a:pt x="1598855" y="2494726"/>
                </a:lnTo>
                <a:lnTo>
                  <a:pt x="1643596" y="2481824"/>
                </a:lnTo>
                <a:lnTo>
                  <a:pt x="1687644" y="2467341"/>
                </a:lnTo>
                <a:lnTo>
                  <a:pt x="1730966" y="2451311"/>
                </a:lnTo>
                <a:lnTo>
                  <a:pt x="1773528" y="2433765"/>
                </a:lnTo>
                <a:lnTo>
                  <a:pt x="1815299" y="2414738"/>
                </a:lnTo>
                <a:lnTo>
                  <a:pt x="1856244" y="2394261"/>
                </a:lnTo>
                <a:lnTo>
                  <a:pt x="1896332" y="2372367"/>
                </a:lnTo>
                <a:lnTo>
                  <a:pt x="1935529" y="2349090"/>
                </a:lnTo>
                <a:lnTo>
                  <a:pt x="1973802" y="2324463"/>
                </a:lnTo>
                <a:lnTo>
                  <a:pt x="2011119" y="2298517"/>
                </a:lnTo>
                <a:lnTo>
                  <a:pt x="2047447" y="2271286"/>
                </a:lnTo>
                <a:lnTo>
                  <a:pt x="2082753" y="2242804"/>
                </a:lnTo>
                <a:lnTo>
                  <a:pt x="2117004" y="2213101"/>
                </a:lnTo>
                <a:lnTo>
                  <a:pt x="2150167" y="2182213"/>
                </a:lnTo>
                <a:lnTo>
                  <a:pt x="2182209" y="2150171"/>
                </a:lnTo>
                <a:lnTo>
                  <a:pt x="2213098" y="2117008"/>
                </a:lnTo>
                <a:lnTo>
                  <a:pt x="2242800" y="2082757"/>
                </a:lnTo>
                <a:lnTo>
                  <a:pt x="2271283" y="2047452"/>
                </a:lnTo>
                <a:lnTo>
                  <a:pt x="2298514" y="2011124"/>
                </a:lnTo>
                <a:lnTo>
                  <a:pt x="2324460" y="1973807"/>
                </a:lnTo>
                <a:lnTo>
                  <a:pt x="2349088" y="1935533"/>
                </a:lnTo>
                <a:lnTo>
                  <a:pt x="2372365" y="1896336"/>
                </a:lnTo>
                <a:lnTo>
                  <a:pt x="2394259" y="1856249"/>
                </a:lnTo>
                <a:lnTo>
                  <a:pt x="2414736" y="1815303"/>
                </a:lnTo>
                <a:lnTo>
                  <a:pt x="2433764" y="1773533"/>
                </a:lnTo>
                <a:lnTo>
                  <a:pt x="2451310" y="1730970"/>
                </a:lnTo>
                <a:lnTo>
                  <a:pt x="2467340" y="1687648"/>
                </a:lnTo>
                <a:lnTo>
                  <a:pt x="2481823" y="1643600"/>
                </a:lnTo>
                <a:lnTo>
                  <a:pt x="2494725" y="1598858"/>
                </a:lnTo>
                <a:lnTo>
                  <a:pt x="2506013" y="1553456"/>
                </a:lnTo>
                <a:lnTo>
                  <a:pt x="2515655" y="1507426"/>
                </a:lnTo>
                <a:lnTo>
                  <a:pt x="2523618" y="1460801"/>
                </a:lnTo>
                <a:lnTo>
                  <a:pt x="2529868" y="1413614"/>
                </a:lnTo>
                <a:lnTo>
                  <a:pt x="2534373" y="1365897"/>
                </a:lnTo>
                <a:lnTo>
                  <a:pt x="2537100" y="1317684"/>
                </a:lnTo>
                <a:lnTo>
                  <a:pt x="2538016" y="1269008"/>
                </a:lnTo>
                <a:lnTo>
                  <a:pt x="2537100" y="1220332"/>
                </a:lnTo>
                <a:lnTo>
                  <a:pt x="2534373" y="1172120"/>
                </a:lnTo>
                <a:lnTo>
                  <a:pt x="2529868" y="1124404"/>
                </a:lnTo>
                <a:lnTo>
                  <a:pt x="2523618" y="1077218"/>
                </a:lnTo>
                <a:lnTo>
                  <a:pt x="2515655" y="1030593"/>
                </a:lnTo>
                <a:lnTo>
                  <a:pt x="2506013" y="984563"/>
                </a:lnTo>
                <a:lnTo>
                  <a:pt x="2494725" y="939161"/>
                </a:lnTo>
                <a:lnTo>
                  <a:pt x="2481823" y="894420"/>
                </a:lnTo>
                <a:lnTo>
                  <a:pt x="2467340" y="850372"/>
                </a:lnTo>
                <a:lnTo>
                  <a:pt x="2451310" y="807050"/>
                </a:lnTo>
                <a:lnTo>
                  <a:pt x="2433764" y="764488"/>
                </a:lnTo>
                <a:lnTo>
                  <a:pt x="2414736" y="722717"/>
                </a:lnTo>
                <a:lnTo>
                  <a:pt x="2394259" y="681772"/>
                </a:lnTo>
                <a:lnTo>
                  <a:pt x="2372365" y="641684"/>
                </a:lnTo>
                <a:lnTo>
                  <a:pt x="2349088" y="602487"/>
                </a:lnTo>
                <a:lnTo>
                  <a:pt x="2324460" y="564214"/>
                </a:lnTo>
                <a:lnTo>
                  <a:pt x="2298514" y="526897"/>
                </a:lnTo>
                <a:lnTo>
                  <a:pt x="2271283" y="490569"/>
                </a:lnTo>
                <a:lnTo>
                  <a:pt x="2242800" y="455263"/>
                </a:lnTo>
                <a:lnTo>
                  <a:pt x="2213098" y="421012"/>
                </a:lnTo>
                <a:lnTo>
                  <a:pt x="2182209" y="387849"/>
                </a:lnTo>
                <a:lnTo>
                  <a:pt x="2150167" y="355807"/>
                </a:lnTo>
                <a:lnTo>
                  <a:pt x="2117004" y="324918"/>
                </a:lnTo>
                <a:lnTo>
                  <a:pt x="2082753" y="295216"/>
                </a:lnTo>
                <a:lnTo>
                  <a:pt x="2047447" y="266733"/>
                </a:lnTo>
                <a:lnTo>
                  <a:pt x="2011119" y="239502"/>
                </a:lnTo>
                <a:lnTo>
                  <a:pt x="1973802" y="213556"/>
                </a:lnTo>
                <a:lnTo>
                  <a:pt x="1935529" y="188928"/>
                </a:lnTo>
                <a:lnTo>
                  <a:pt x="1896332" y="165651"/>
                </a:lnTo>
                <a:lnTo>
                  <a:pt x="1856244" y="143757"/>
                </a:lnTo>
                <a:lnTo>
                  <a:pt x="1815299" y="123280"/>
                </a:lnTo>
                <a:lnTo>
                  <a:pt x="1773528" y="104252"/>
                </a:lnTo>
                <a:lnTo>
                  <a:pt x="1730966" y="86706"/>
                </a:lnTo>
                <a:lnTo>
                  <a:pt x="1687644" y="70676"/>
                </a:lnTo>
                <a:lnTo>
                  <a:pt x="1643596" y="56193"/>
                </a:lnTo>
                <a:lnTo>
                  <a:pt x="1598855" y="43291"/>
                </a:lnTo>
                <a:lnTo>
                  <a:pt x="1553453" y="32003"/>
                </a:lnTo>
                <a:lnTo>
                  <a:pt x="1507423" y="22361"/>
                </a:lnTo>
                <a:lnTo>
                  <a:pt x="1460798" y="14398"/>
                </a:lnTo>
                <a:lnTo>
                  <a:pt x="1413612" y="8148"/>
                </a:lnTo>
                <a:lnTo>
                  <a:pt x="1365896" y="3643"/>
                </a:lnTo>
                <a:lnTo>
                  <a:pt x="1317684" y="916"/>
                </a:lnTo>
                <a:lnTo>
                  <a:pt x="1269008" y="0"/>
                </a:lnTo>
                <a:lnTo>
                  <a:pt x="1220332" y="916"/>
                </a:lnTo>
                <a:lnTo>
                  <a:pt x="1172120" y="3643"/>
                </a:lnTo>
                <a:lnTo>
                  <a:pt x="1124404" y="8148"/>
                </a:lnTo>
                <a:lnTo>
                  <a:pt x="1077218" y="14398"/>
                </a:lnTo>
                <a:lnTo>
                  <a:pt x="1030593" y="22361"/>
                </a:lnTo>
                <a:lnTo>
                  <a:pt x="984563" y="32003"/>
                </a:lnTo>
                <a:lnTo>
                  <a:pt x="939161" y="43291"/>
                </a:lnTo>
                <a:lnTo>
                  <a:pt x="894420" y="56193"/>
                </a:lnTo>
                <a:lnTo>
                  <a:pt x="850372" y="70676"/>
                </a:lnTo>
                <a:lnTo>
                  <a:pt x="807050" y="86706"/>
                </a:lnTo>
                <a:lnTo>
                  <a:pt x="764488" y="104252"/>
                </a:lnTo>
                <a:lnTo>
                  <a:pt x="722717" y="123280"/>
                </a:lnTo>
                <a:lnTo>
                  <a:pt x="681772" y="143757"/>
                </a:lnTo>
                <a:lnTo>
                  <a:pt x="641684" y="165651"/>
                </a:lnTo>
                <a:lnTo>
                  <a:pt x="602487" y="188928"/>
                </a:lnTo>
                <a:lnTo>
                  <a:pt x="564214" y="213556"/>
                </a:lnTo>
                <a:lnTo>
                  <a:pt x="526897" y="239502"/>
                </a:lnTo>
                <a:lnTo>
                  <a:pt x="490569" y="266733"/>
                </a:lnTo>
                <a:lnTo>
                  <a:pt x="455263" y="295216"/>
                </a:lnTo>
                <a:lnTo>
                  <a:pt x="421012" y="324918"/>
                </a:lnTo>
                <a:lnTo>
                  <a:pt x="387849" y="355807"/>
                </a:lnTo>
                <a:lnTo>
                  <a:pt x="355807" y="387849"/>
                </a:lnTo>
                <a:lnTo>
                  <a:pt x="324918" y="421012"/>
                </a:lnTo>
                <a:lnTo>
                  <a:pt x="295216" y="455263"/>
                </a:lnTo>
                <a:lnTo>
                  <a:pt x="266733" y="490569"/>
                </a:lnTo>
                <a:lnTo>
                  <a:pt x="239502" y="526897"/>
                </a:lnTo>
                <a:lnTo>
                  <a:pt x="213556" y="564214"/>
                </a:lnTo>
                <a:lnTo>
                  <a:pt x="188928" y="602487"/>
                </a:lnTo>
                <a:lnTo>
                  <a:pt x="165651" y="641684"/>
                </a:lnTo>
                <a:lnTo>
                  <a:pt x="143757" y="681772"/>
                </a:lnTo>
                <a:lnTo>
                  <a:pt x="123280" y="722717"/>
                </a:lnTo>
                <a:lnTo>
                  <a:pt x="104252" y="764488"/>
                </a:lnTo>
                <a:lnTo>
                  <a:pt x="86706" y="807050"/>
                </a:lnTo>
                <a:lnTo>
                  <a:pt x="70676" y="850372"/>
                </a:lnTo>
                <a:lnTo>
                  <a:pt x="56193" y="894420"/>
                </a:lnTo>
                <a:lnTo>
                  <a:pt x="43291" y="939161"/>
                </a:lnTo>
                <a:lnTo>
                  <a:pt x="32003" y="984563"/>
                </a:lnTo>
                <a:lnTo>
                  <a:pt x="22361" y="1030593"/>
                </a:lnTo>
                <a:lnTo>
                  <a:pt x="14398" y="1077218"/>
                </a:lnTo>
                <a:lnTo>
                  <a:pt x="8148" y="1124404"/>
                </a:lnTo>
                <a:lnTo>
                  <a:pt x="3643" y="1172120"/>
                </a:lnTo>
                <a:lnTo>
                  <a:pt x="916" y="1220332"/>
                </a:lnTo>
                <a:lnTo>
                  <a:pt x="0" y="1269008"/>
                </a:lnTo>
                <a:lnTo>
                  <a:pt x="916" y="1317684"/>
                </a:lnTo>
                <a:lnTo>
                  <a:pt x="3643" y="1365897"/>
                </a:lnTo>
                <a:lnTo>
                  <a:pt x="8148" y="1413614"/>
                </a:lnTo>
                <a:lnTo>
                  <a:pt x="14398" y="1460801"/>
                </a:lnTo>
                <a:lnTo>
                  <a:pt x="22361" y="1507426"/>
                </a:lnTo>
                <a:lnTo>
                  <a:pt x="32003" y="1553456"/>
                </a:lnTo>
                <a:lnTo>
                  <a:pt x="43291" y="1598858"/>
                </a:lnTo>
                <a:lnTo>
                  <a:pt x="56193" y="1643600"/>
                </a:lnTo>
                <a:lnTo>
                  <a:pt x="70676" y="1687648"/>
                </a:lnTo>
                <a:lnTo>
                  <a:pt x="86706" y="1730970"/>
                </a:lnTo>
                <a:lnTo>
                  <a:pt x="104252" y="1773533"/>
                </a:lnTo>
                <a:lnTo>
                  <a:pt x="123280" y="1815303"/>
                </a:lnTo>
                <a:lnTo>
                  <a:pt x="143757" y="1856249"/>
                </a:lnTo>
                <a:lnTo>
                  <a:pt x="165651" y="1896336"/>
                </a:lnTo>
                <a:lnTo>
                  <a:pt x="188928" y="1935533"/>
                </a:lnTo>
                <a:lnTo>
                  <a:pt x="213556" y="1973807"/>
                </a:lnTo>
                <a:lnTo>
                  <a:pt x="239502" y="2011124"/>
                </a:lnTo>
                <a:lnTo>
                  <a:pt x="266733" y="2047452"/>
                </a:lnTo>
                <a:lnTo>
                  <a:pt x="295216" y="2082757"/>
                </a:lnTo>
                <a:lnTo>
                  <a:pt x="324918" y="2117008"/>
                </a:lnTo>
                <a:lnTo>
                  <a:pt x="355807" y="2150171"/>
                </a:lnTo>
                <a:lnTo>
                  <a:pt x="387849" y="2182213"/>
                </a:lnTo>
                <a:lnTo>
                  <a:pt x="421012" y="2213101"/>
                </a:lnTo>
                <a:lnTo>
                  <a:pt x="455263" y="2242804"/>
                </a:lnTo>
                <a:lnTo>
                  <a:pt x="490569" y="2271286"/>
                </a:lnTo>
                <a:lnTo>
                  <a:pt x="526897" y="2298517"/>
                </a:lnTo>
                <a:lnTo>
                  <a:pt x="564214" y="2324463"/>
                </a:lnTo>
                <a:lnTo>
                  <a:pt x="602487" y="2349090"/>
                </a:lnTo>
                <a:lnTo>
                  <a:pt x="641684" y="2372367"/>
                </a:lnTo>
                <a:lnTo>
                  <a:pt x="681772" y="2394261"/>
                </a:lnTo>
                <a:lnTo>
                  <a:pt x="722717" y="2414738"/>
                </a:lnTo>
                <a:lnTo>
                  <a:pt x="764488" y="2433765"/>
                </a:lnTo>
                <a:lnTo>
                  <a:pt x="807050" y="2451311"/>
                </a:lnTo>
                <a:lnTo>
                  <a:pt x="850372" y="2467341"/>
                </a:lnTo>
                <a:lnTo>
                  <a:pt x="894420" y="2481824"/>
                </a:lnTo>
                <a:lnTo>
                  <a:pt x="939161" y="2494726"/>
                </a:lnTo>
                <a:lnTo>
                  <a:pt x="984563" y="2506014"/>
                </a:lnTo>
                <a:lnTo>
                  <a:pt x="1030593" y="2515655"/>
                </a:lnTo>
                <a:lnTo>
                  <a:pt x="1077218" y="2523618"/>
                </a:lnTo>
                <a:lnTo>
                  <a:pt x="1124404" y="2529868"/>
                </a:lnTo>
                <a:lnTo>
                  <a:pt x="1172120" y="2534373"/>
                </a:lnTo>
                <a:lnTo>
                  <a:pt x="1220332" y="2537100"/>
                </a:lnTo>
                <a:lnTo>
                  <a:pt x="1269008" y="2538016"/>
                </a:lnTo>
                <a:close/>
              </a:path>
            </a:pathLst>
          </a:custGeom>
          <a:ln w="136121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50">
              <a:solidFill>
                <a:prstClr val="black"/>
              </a:solidFill>
            </a:endParaRPr>
          </a:p>
        </p:txBody>
      </p:sp>
      <p:sp>
        <p:nvSpPr>
          <p:cNvPr id="94" name="object 20">
            <a:extLst>
              <a:ext uri="{FF2B5EF4-FFF2-40B4-BE49-F238E27FC236}">
                <a16:creationId xmlns:a16="http://schemas.microsoft.com/office/drawing/2014/main" id="{301D3FD4-821D-666F-857F-80509AC5EC40}"/>
              </a:ext>
            </a:extLst>
          </p:cNvPr>
          <p:cNvSpPr/>
          <p:nvPr userDrawn="1"/>
        </p:nvSpPr>
        <p:spPr>
          <a:xfrm>
            <a:off x="7609358" y="4045916"/>
            <a:ext cx="1539103" cy="1539103"/>
          </a:xfrm>
          <a:custGeom>
            <a:avLst/>
            <a:gdLst/>
            <a:ahLst/>
            <a:cxnLst/>
            <a:rect l="l" t="t" r="r" b="b"/>
            <a:pathLst>
              <a:path w="2538094" h="2538095">
                <a:moveTo>
                  <a:pt x="1269008" y="2538016"/>
                </a:moveTo>
                <a:lnTo>
                  <a:pt x="1317684" y="2537100"/>
                </a:lnTo>
                <a:lnTo>
                  <a:pt x="1365896" y="2534373"/>
                </a:lnTo>
                <a:lnTo>
                  <a:pt x="1413612" y="2529868"/>
                </a:lnTo>
                <a:lnTo>
                  <a:pt x="1460798" y="2523618"/>
                </a:lnTo>
                <a:lnTo>
                  <a:pt x="1507423" y="2515655"/>
                </a:lnTo>
                <a:lnTo>
                  <a:pt x="1553453" y="2506014"/>
                </a:lnTo>
                <a:lnTo>
                  <a:pt x="1598855" y="2494726"/>
                </a:lnTo>
                <a:lnTo>
                  <a:pt x="1643596" y="2481824"/>
                </a:lnTo>
                <a:lnTo>
                  <a:pt x="1687644" y="2467341"/>
                </a:lnTo>
                <a:lnTo>
                  <a:pt x="1730966" y="2451311"/>
                </a:lnTo>
                <a:lnTo>
                  <a:pt x="1773528" y="2433765"/>
                </a:lnTo>
                <a:lnTo>
                  <a:pt x="1815299" y="2414738"/>
                </a:lnTo>
                <a:lnTo>
                  <a:pt x="1856244" y="2394261"/>
                </a:lnTo>
                <a:lnTo>
                  <a:pt x="1896332" y="2372367"/>
                </a:lnTo>
                <a:lnTo>
                  <a:pt x="1935529" y="2349090"/>
                </a:lnTo>
                <a:lnTo>
                  <a:pt x="1973802" y="2324463"/>
                </a:lnTo>
                <a:lnTo>
                  <a:pt x="2011119" y="2298517"/>
                </a:lnTo>
                <a:lnTo>
                  <a:pt x="2047447" y="2271286"/>
                </a:lnTo>
                <a:lnTo>
                  <a:pt x="2082753" y="2242804"/>
                </a:lnTo>
                <a:lnTo>
                  <a:pt x="2117004" y="2213101"/>
                </a:lnTo>
                <a:lnTo>
                  <a:pt x="2150167" y="2182213"/>
                </a:lnTo>
                <a:lnTo>
                  <a:pt x="2182209" y="2150171"/>
                </a:lnTo>
                <a:lnTo>
                  <a:pt x="2213098" y="2117008"/>
                </a:lnTo>
                <a:lnTo>
                  <a:pt x="2242800" y="2082757"/>
                </a:lnTo>
                <a:lnTo>
                  <a:pt x="2271283" y="2047452"/>
                </a:lnTo>
                <a:lnTo>
                  <a:pt x="2298514" y="2011124"/>
                </a:lnTo>
                <a:lnTo>
                  <a:pt x="2324460" y="1973807"/>
                </a:lnTo>
                <a:lnTo>
                  <a:pt x="2349088" y="1935533"/>
                </a:lnTo>
                <a:lnTo>
                  <a:pt x="2372365" y="1896336"/>
                </a:lnTo>
                <a:lnTo>
                  <a:pt x="2394259" y="1856249"/>
                </a:lnTo>
                <a:lnTo>
                  <a:pt x="2414736" y="1815303"/>
                </a:lnTo>
                <a:lnTo>
                  <a:pt x="2433764" y="1773533"/>
                </a:lnTo>
                <a:lnTo>
                  <a:pt x="2451310" y="1730970"/>
                </a:lnTo>
                <a:lnTo>
                  <a:pt x="2467340" y="1687648"/>
                </a:lnTo>
                <a:lnTo>
                  <a:pt x="2481823" y="1643600"/>
                </a:lnTo>
                <a:lnTo>
                  <a:pt x="2494725" y="1598858"/>
                </a:lnTo>
                <a:lnTo>
                  <a:pt x="2506013" y="1553456"/>
                </a:lnTo>
                <a:lnTo>
                  <a:pt x="2515655" y="1507426"/>
                </a:lnTo>
                <a:lnTo>
                  <a:pt x="2523618" y="1460801"/>
                </a:lnTo>
                <a:lnTo>
                  <a:pt x="2529868" y="1413614"/>
                </a:lnTo>
                <a:lnTo>
                  <a:pt x="2534373" y="1365897"/>
                </a:lnTo>
                <a:lnTo>
                  <a:pt x="2537100" y="1317684"/>
                </a:lnTo>
                <a:lnTo>
                  <a:pt x="2538016" y="1269008"/>
                </a:lnTo>
                <a:lnTo>
                  <a:pt x="2537100" y="1220332"/>
                </a:lnTo>
                <a:lnTo>
                  <a:pt x="2534373" y="1172120"/>
                </a:lnTo>
                <a:lnTo>
                  <a:pt x="2529868" y="1124404"/>
                </a:lnTo>
                <a:lnTo>
                  <a:pt x="2523618" y="1077218"/>
                </a:lnTo>
                <a:lnTo>
                  <a:pt x="2515655" y="1030593"/>
                </a:lnTo>
                <a:lnTo>
                  <a:pt x="2506013" y="984563"/>
                </a:lnTo>
                <a:lnTo>
                  <a:pt x="2494725" y="939161"/>
                </a:lnTo>
                <a:lnTo>
                  <a:pt x="2481823" y="894420"/>
                </a:lnTo>
                <a:lnTo>
                  <a:pt x="2467340" y="850372"/>
                </a:lnTo>
                <a:lnTo>
                  <a:pt x="2451310" y="807050"/>
                </a:lnTo>
                <a:lnTo>
                  <a:pt x="2433764" y="764488"/>
                </a:lnTo>
                <a:lnTo>
                  <a:pt x="2414736" y="722717"/>
                </a:lnTo>
                <a:lnTo>
                  <a:pt x="2394259" y="681772"/>
                </a:lnTo>
                <a:lnTo>
                  <a:pt x="2372365" y="641684"/>
                </a:lnTo>
                <a:lnTo>
                  <a:pt x="2349088" y="602487"/>
                </a:lnTo>
                <a:lnTo>
                  <a:pt x="2324460" y="564214"/>
                </a:lnTo>
                <a:lnTo>
                  <a:pt x="2298514" y="526897"/>
                </a:lnTo>
                <a:lnTo>
                  <a:pt x="2271283" y="490569"/>
                </a:lnTo>
                <a:lnTo>
                  <a:pt x="2242800" y="455263"/>
                </a:lnTo>
                <a:lnTo>
                  <a:pt x="2213098" y="421012"/>
                </a:lnTo>
                <a:lnTo>
                  <a:pt x="2182209" y="387849"/>
                </a:lnTo>
                <a:lnTo>
                  <a:pt x="2150167" y="355807"/>
                </a:lnTo>
                <a:lnTo>
                  <a:pt x="2117004" y="324918"/>
                </a:lnTo>
                <a:lnTo>
                  <a:pt x="2082753" y="295216"/>
                </a:lnTo>
                <a:lnTo>
                  <a:pt x="2047447" y="266733"/>
                </a:lnTo>
                <a:lnTo>
                  <a:pt x="2011119" y="239502"/>
                </a:lnTo>
                <a:lnTo>
                  <a:pt x="1973802" y="213556"/>
                </a:lnTo>
                <a:lnTo>
                  <a:pt x="1935529" y="188928"/>
                </a:lnTo>
                <a:lnTo>
                  <a:pt x="1896332" y="165651"/>
                </a:lnTo>
                <a:lnTo>
                  <a:pt x="1856244" y="143757"/>
                </a:lnTo>
                <a:lnTo>
                  <a:pt x="1815299" y="123280"/>
                </a:lnTo>
                <a:lnTo>
                  <a:pt x="1773528" y="104252"/>
                </a:lnTo>
                <a:lnTo>
                  <a:pt x="1730966" y="86706"/>
                </a:lnTo>
                <a:lnTo>
                  <a:pt x="1687644" y="70676"/>
                </a:lnTo>
                <a:lnTo>
                  <a:pt x="1643596" y="56193"/>
                </a:lnTo>
                <a:lnTo>
                  <a:pt x="1598855" y="43291"/>
                </a:lnTo>
                <a:lnTo>
                  <a:pt x="1553453" y="32003"/>
                </a:lnTo>
                <a:lnTo>
                  <a:pt x="1507423" y="22361"/>
                </a:lnTo>
                <a:lnTo>
                  <a:pt x="1460798" y="14398"/>
                </a:lnTo>
                <a:lnTo>
                  <a:pt x="1413612" y="8148"/>
                </a:lnTo>
                <a:lnTo>
                  <a:pt x="1365896" y="3643"/>
                </a:lnTo>
                <a:lnTo>
                  <a:pt x="1317684" y="916"/>
                </a:lnTo>
                <a:lnTo>
                  <a:pt x="1269008" y="0"/>
                </a:lnTo>
                <a:lnTo>
                  <a:pt x="1220332" y="916"/>
                </a:lnTo>
                <a:lnTo>
                  <a:pt x="1172120" y="3643"/>
                </a:lnTo>
                <a:lnTo>
                  <a:pt x="1124404" y="8148"/>
                </a:lnTo>
                <a:lnTo>
                  <a:pt x="1077218" y="14398"/>
                </a:lnTo>
                <a:lnTo>
                  <a:pt x="1030593" y="22361"/>
                </a:lnTo>
                <a:lnTo>
                  <a:pt x="984563" y="32003"/>
                </a:lnTo>
                <a:lnTo>
                  <a:pt x="939161" y="43291"/>
                </a:lnTo>
                <a:lnTo>
                  <a:pt x="894420" y="56193"/>
                </a:lnTo>
                <a:lnTo>
                  <a:pt x="850372" y="70676"/>
                </a:lnTo>
                <a:lnTo>
                  <a:pt x="807050" y="86706"/>
                </a:lnTo>
                <a:lnTo>
                  <a:pt x="764488" y="104252"/>
                </a:lnTo>
                <a:lnTo>
                  <a:pt x="722717" y="123280"/>
                </a:lnTo>
                <a:lnTo>
                  <a:pt x="681772" y="143757"/>
                </a:lnTo>
                <a:lnTo>
                  <a:pt x="641684" y="165651"/>
                </a:lnTo>
                <a:lnTo>
                  <a:pt x="602487" y="188928"/>
                </a:lnTo>
                <a:lnTo>
                  <a:pt x="564214" y="213556"/>
                </a:lnTo>
                <a:lnTo>
                  <a:pt x="526897" y="239502"/>
                </a:lnTo>
                <a:lnTo>
                  <a:pt x="490569" y="266733"/>
                </a:lnTo>
                <a:lnTo>
                  <a:pt x="455263" y="295216"/>
                </a:lnTo>
                <a:lnTo>
                  <a:pt x="421012" y="324918"/>
                </a:lnTo>
                <a:lnTo>
                  <a:pt x="387849" y="355807"/>
                </a:lnTo>
                <a:lnTo>
                  <a:pt x="355807" y="387849"/>
                </a:lnTo>
                <a:lnTo>
                  <a:pt x="324918" y="421012"/>
                </a:lnTo>
                <a:lnTo>
                  <a:pt x="295216" y="455263"/>
                </a:lnTo>
                <a:lnTo>
                  <a:pt x="266733" y="490569"/>
                </a:lnTo>
                <a:lnTo>
                  <a:pt x="239502" y="526897"/>
                </a:lnTo>
                <a:lnTo>
                  <a:pt x="213556" y="564214"/>
                </a:lnTo>
                <a:lnTo>
                  <a:pt x="188928" y="602487"/>
                </a:lnTo>
                <a:lnTo>
                  <a:pt x="165651" y="641684"/>
                </a:lnTo>
                <a:lnTo>
                  <a:pt x="143757" y="681772"/>
                </a:lnTo>
                <a:lnTo>
                  <a:pt x="123280" y="722717"/>
                </a:lnTo>
                <a:lnTo>
                  <a:pt x="104252" y="764488"/>
                </a:lnTo>
                <a:lnTo>
                  <a:pt x="86706" y="807050"/>
                </a:lnTo>
                <a:lnTo>
                  <a:pt x="70676" y="850372"/>
                </a:lnTo>
                <a:lnTo>
                  <a:pt x="56193" y="894420"/>
                </a:lnTo>
                <a:lnTo>
                  <a:pt x="43291" y="939161"/>
                </a:lnTo>
                <a:lnTo>
                  <a:pt x="32003" y="984563"/>
                </a:lnTo>
                <a:lnTo>
                  <a:pt x="22361" y="1030593"/>
                </a:lnTo>
                <a:lnTo>
                  <a:pt x="14398" y="1077218"/>
                </a:lnTo>
                <a:lnTo>
                  <a:pt x="8148" y="1124404"/>
                </a:lnTo>
                <a:lnTo>
                  <a:pt x="3643" y="1172120"/>
                </a:lnTo>
                <a:lnTo>
                  <a:pt x="916" y="1220332"/>
                </a:lnTo>
                <a:lnTo>
                  <a:pt x="0" y="1269008"/>
                </a:lnTo>
                <a:lnTo>
                  <a:pt x="916" y="1317684"/>
                </a:lnTo>
                <a:lnTo>
                  <a:pt x="3643" y="1365897"/>
                </a:lnTo>
                <a:lnTo>
                  <a:pt x="8148" y="1413614"/>
                </a:lnTo>
                <a:lnTo>
                  <a:pt x="14398" y="1460801"/>
                </a:lnTo>
                <a:lnTo>
                  <a:pt x="22361" y="1507426"/>
                </a:lnTo>
                <a:lnTo>
                  <a:pt x="32003" y="1553456"/>
                </a:lnTo>
                <a:lnTo>
                  <a:pt x="43291" y="1598858"/>
                </a:lnTo>
                <a:lnTo>
                  <a:pt x="56193" y="1643600"/>
                </a:lnTo>
                <a:lnTo>
                  <a:pt x="70676" y="1687648"/>
                </a:lnTo>
                <a:lnTo>
                  <a:pt x="86706" y="1730970"/>
                </a:lnTo>
                <a:lnTo>
                  <a:pt x="104252" y="1773533"/>
                </a:lnTo>
                <a:lnTo>
                  <a:pt x="123280" y="1815303"/>
                </a:lnTo>
                <a:lnTo>
                  <a:pt x="143757" y="1856249"/>
                </a:lnTo>
                <a:lnTo>
                  <a:pt x="165651" y="1896336"/>
                </a:lnTo>
                <a:lnTo>
                  <a:pt x="188928" y="1935533"/>
                </a:lnTo>
                <a:lnTo>
                  <a:pt x="213556" y="1973807"/>
                </a:lnTo>
                <a:lnTo>
                  <a:pt x="239502" y="2011124"/>
                </a:lnTo>
                <a:lnTo>
                  <a:pt x="266733" y="2047452"/>
                </a:lnTo>
                <a:lnTo>
                  <a:pt x="295216" y="2082757"/>
                </a:lnTo>
                <a:lnTo>
                  <a:pt x="324918" y="2117008"/>
                </a:lnTo>
                <a:lnTo>
                  <a:pt x="355807" y="2150171"/>
                </a:lnTo>
                <a:lnTo>
                  <a:pt x="387849" y="2182213"/>
                </a:lnTo>
                <a:lnTo>
                  <a:pt x="421012" y="2213101"/>
                </a:lnTo>
                <a:lnTo>
                  <a:pt x="455263" y="2242804"/>
                </a:lnTo>
                <a:lnTo>
                  <a:pt x="490569" y="2271286"/>
                </a:lnTo>
                <a:lnTo>
                  <a:pt x="526897" y="2298517"/>
                </a:lnTo>
                <a:lnTo>
                  <a:pt x="564214" y="2324463"/>
                </a:lnTo>
                <a:lnTo>
                  <a:pt x="602487" y="2349090"/>
                </a:lnTo>
                <a:lnTo>
                  <a:pt x="641684" y="2372367"/>
                </a:lnTo>
                <a:lnTo>
                  <a:pt x="681772" y="2394261"/>
                </a:lnTo>
                <a:lnTo>
                  <a:pt x="722717" y="2414738"/>
                </a:lnTo>
                <a:lnTo>
                  <a:pt x="764488" y="2433765"/>
                </a:lnTo>
                <a:lnTo>
                  <a:pt x="807050" y="2451311"/>
                </a:lnTo>
                <a:lnTo>
                  <a:pt x="850372" y="2467341"/>
                </a:lnTo>
                <a:lnTo>
                  <a:pt x="894420" y="2481824"/>
                </a:lnTo>
                <a:lnTo>
                  <a:pt x="939161" y="2494726"/>
                </a:lnTo>
                <a:lnTo>
                  <a:pt x="984563" y="2506014"/>
                </a:lnTo>
                <a:lnTo>
                  <a:pt x="1030593" y="2515655"/>
                </a:lnTo>
                <a:lnTo>
                  <a:pt x="1077218" y="2523618"/>
                </a:lnTo>
                <a:lnTo>
                  <a:pt x="1124404" y="2529868"/>
                </a:lnTo>
                <a:lnTo>
                  <a:pt x="1172120" y="2534373"/>
                </a:lnTo>
                <a:lnTo>
                  <a:pt x="1220332" y="2537100"/>
                </a:lnTo>
                <a:lnTo>
                  <a:pt x="1269008" y="2538016"/>
                </a:lnTo>
                <a:close/>
              </a:path>
            </a:pathLst>
          </a:custGeom>
          <a:ln w="136121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50">
              <a:solidFill>
                <a:prstClr val="black"/>
              </a:solidFill>
            </a:endParaRPr>
          </a:p>
        </p:txBody>
      </p:sp>
      <p:sp>
        <p:nvSpPr>
          <p:cNvPr id="96" name="object 22">
            <a:extLst>
              <a:ext uri="{FF2B5EF4-FFF2-40B4-BE49-F238E27FC236}">
                <a16:creationId xmlns:a16="http://schemas.microsoft.com/office/drawing/2014/main" id="{944940D0-3062-D60F-285C-250D1008FA11}"/>
              </a:ext>
            </a:extLst>
          </p:cNvPr>
          <p:cNvSpPr/>
          <p:nvPr userDrawn="1"/>
        </p:nvSpPr>
        <p:spPr>
          <a:xfrm>
            <a:off x="9892244" y="4045916"/>
            <a:ext cx="1539103" cy="1539103"/>
          </a:xfrm>
          <a:custGeom>
            <a:avLst/>
            <a:gdLst/>
            <a:ahLst/>
            <a:cxnLst/>
            <a:rect l="l" t="t" r="r" b="b"/>
            <a:pathLst>
              <a:path w="2538094" h="2538095">
                <a:moveTo>
                  <a:pt x="1269008" y="2538016"/>
                </a:moveTo>
                <a:lnTo>
                  <a:pt x="1317684" y="2537100"/>
                </a:lnTo>
                <a:lnTo>
                  <a:pt x="1365896" y="2534373"/>
                </a:lnTo>
                <a:lnTo>
                  <a:pt x="1413612" y="2529868"/>
                </a:lnTo>
                <a:lnTo>
                  <a:pt x="1460798" y="2523618"/>
                </a:lnTo>
                <a:lnTo>
                  <a:pt x="1507423" y="2515655"/>
                </a:lnTo>
                <a:lnTo>
                  <a:pt x="1553453" y="2506014"/>
                </a:lnTo>
                <a:lnTo>
                  <a:pt x="1598855" y="2494726"/>
                </a:lnTo>
                <a:lnTo>
                  <a:pt x="1643596" y="2481824"/>
                </a:lnTo>
                <a:lnTo>
                  <a:pt x="1687644" y="2467341"/>
                </a:lnTo>
                <a:lnTo>
                  <a:pt x="1730966" y="2451311"/>
                </a:lnTo>
                <a:lnTo>
                  <a:pt x="1773528" y="2433765"/>
                </a:lnTo>
                <a:lnTo>
                  <a:pt x="1815299" y="2414738"/>
                </a:lnTo>
                <a:lnTo>
                  <a:pt x="1856244" y="2394261"/>
                </a:lnTo>
                <a:lnTo>
                  <a:pt x="1896332" y="2372367"/>
                </a:lnTo>
                <a:lnTo>
                  <a:pt x="1935529" y="2349090"/>
                </a:lnTo>
                <a:lnTo>
                  <a:pt x="1973802" y="2324463"/>
                </a:lnTo>
                <a:lnTo>
                  <a:pt x="2011119" y="2298517"/>
                </a:lnTo>
                <a:lnTo>
                  <a:pt x="2047447" y="2271286"/>
                </a:lnTo>
                <a:lnTo>
                  <a:pt x="2082753" y="2242804"/>
                </a:lnTo>
                <a:lnTo>
                  <a:pt x="2117004" y="2213101"/>
                </a:lnTo>
                <a:lnTo>
                  <a:pt x="2150167" y="2182213"/>
                </a:lnTo>
                <a:lnTo>
                  <a:pt x="2182209" y="2150171"/>
                </a:lnTo>
                <a:lnTo>
                  <a:pt x="2213098" y="2117008"/>
                </a:lnTo>
                <a:lnTo>
                  <a:pt x="2242800" y="2082757"/>
                </a:lnTo>
                <a:lnTo>
                  <a:pt x="2271283" y="2047452"/>
                </a:lnTo>
                <a:lnTo>
                  <a:pt x="2298514" y="2011124"/>
                </a:lnTo>
                <a:lnTo>
                  <a:pt x="2324460" y="1973807"/>
                </a:lnTo>
                <a:lnTo>
                  <a:pt x="2349088" y="1935533"/>
                </a:lnTo>
                <a:lnTo>
                  <a:pt x="2372365" y="1896336"/>
                </a:lnTo>
                <a:lnTo>
                  <a:pt x="2394259" y="1856249"/>
                </a:lnTo>
                <a:lnTo>
                  <a:pt x="2414736" y="1815303"/>
                </a:lnTo>
                <a:lnTo>
                  <a:pt x="2433764" y="1773533"/>
                </a:lnTo>
                <a:lnTo>
                  <a:pt x="2451310" y="1730970"/>
                </a:lnTo>
                <a:lnTo>
                  <a:pt x="2467340" y="1687648"/>
                </a:lnTo>
                <a:lnTo>
                  <a:pt x="2481823" y="1643600"/>
                </a:lnTo>
                <a:lnTo>
                  <a:pt x="2494725" y="1598858"/>
                </a:lnTo>
                <a:lnTo>
                  <a:pt x="2506013" y="1553456"/>
                </a:lnTo>
                <a:lnTo>
                  <a:pt x="2515655" y="1507426"/>
                </a:lnTo>
                <a:lnTo>
                  <a:pt x="2523618" y="1460801"/>
                </a:lnTo>
                <a:lnTo>
                  <a:pt x="2529868" y="1413614"/>
                </a:lnTo>
                <a:lnTo>
                  <a:pt x="2534373" y="1365897"/>
                </a:lnTo>
                <a:lnTo>
                  <a:pt x="2537100" y="1317684"/>
                </a:lnTo>
                <a:lnTo>
                  <a:pt x="2538016" y="1269008"/>
                </a:lnTo>
                <a:lnTo>
                  <a:pt x="2537100" y="1220332"/>
                </a:lnTo>
                <a:lnTo>
                  <a:pt x="2534373" y="1172120"/>
                </a:lnTo>
                <a:lnTo>
                  <a:pt x="2529868" y="1124404"/>
                </a:lnTo>
                <a:lnTo>
                  <a:pt x="2523618" y="1077218"/>
                </a:lnTo>
                <a:lnTo>
                  <a:pt x="2515655" y="1030593"/>
                </a:lnTo>
                <a:lnTo>
                  <a:pt x="2506013" y="984563"/>
                </a:lnTo>
                <a:lnTo>
                  <a:pt x="2494725" y="939161"/>
                </a:lnTo>
                <a:lnTo>
                  <a:pt x="2481823" y="894420"/>
                </a:lnTo>
                <a:lnTo>
                  <a:pt x="2467340" y="850372"/>
                </a:lnTo>
                <a:lnTo>
                  <a:pt x="2451310" y="807050"/>
                </a:lnTo>
                <a:lnTo>
                  <a:pt x="2433764" y="764488"/>
                </a:lnTo>
                <a:lnTo>
                  <a:pt x="2414736" y="722717"/>
                </a:lnTo>
                <a:lnTo>
                  <a:pt x="2394259" y="681772"/>
                </a:lnTo>
                <a:lnTo>
                  <a:pt x="2372365" y="641684"/>
                </a:lnTo>
                <a:lnTo>
                  <a:pt x="2349088" y="602487"/>
                </a:lnTo>
                <a:lnTo>
                  <a:pt x="2324460" y="564214"/>
                </a:lnTo>
                <a:lnTo>
                  <a:pt x="2298514" y="526897"/>
                </a:lnTo>
                <a:lnTo>
                  <a:pt x="2271283" y="490569"/>
                </a:lnTo>
                <a:lnTo>
                  <a:pt x="2242800" y="455263"/>
                </a:lnTo>
                <a:lnTo>
                  <a:pt x="2213098" y="421012"/>
                </a:lnTo>
                <a:lnTo>
                  <a:pt x="2182209" y="387849"/>
                </a:lnTo>
                <a:lnTo>
                  <a:pt x="2150167" y="355807"/>
                </a:lnTo>
                <a:lnTo>
                  <a:pt x="2117004" y="324918"/>
                </a:lnTo>
                <a:lnTo>
                  <a:pt x="2082753" y="295216"/>
                </a:lnTo>
                <a:lnTo>
                  <a:pt x="2047447" y="266733"/>
                </a:lnTo>
                <a:lnTo>
                  <a:pt x="2011119" y="239502"/>
                </a:lnTo>
                <a:lnTo>
                  <a:pt x="1973802" y="213556"/>
                </a:lnTo>
                <a:lnTo>
                  <a:pt x="1935529" y="188928"/>
                </a:lnTo>
                <a:lnTo>
                  <a:pt x="1896332" y="165651"/>
                </a:lnTo>
                <a:lnTo>
                  <a:pt x="1856244" y="143757"/>
                </a:lnTo>
                <a:lnTo>
                  <a:pt x="1815299" y="123280"/>
                </a:lnTo>
                <a:lnTo>
                  <a:pt x="1773528" y="104252"/>
                </a:lnTo>
                <a:lnTo>
                  <a:pt x="1730966" y="86706"/>
                </a:lnTo>
                <a:lnTo>
                  <a:pt x="1687644" y="70676"/>
                </a:lnTo>
                <a:lnTo>
                  <a:pt x="1643596" y="56193"/>
                </a:lnTo>
                <a:lnTo>
                  <a:pt x="1598855" y="43291"/>
                </a:lnTo>
                <a:lnTo>
                  <a:pt x="1553453" y="32003"/>
                </a:lnTo>
                <a:lnTo>
                  <a:pt x="1507423" y="22361"/>
                </a:lnTo>
                <a:lnTo>
                  <a:pt x="1460798" y="14398"/>
                </a:lnTo>
                <a:lnTo>
                  <a:pt x="1413612" y="8148"/>
                </a:lnTo>
                <a:lnTo>
                  <a:pt x="1365896" y="3643"/>
                </a:lnTo>
                <a:lnTo>
                  <a:pt x="1317684" y="916"/>
                </a:lnTo>
                <a:lnTo>
                  <a:pt x="1269008" y="0"/>
                </a:lnTo>
                <a:lnTo>
                  <a:pt x="1220332" y="916"/>
                </a:lnTo>
                <a:lnTo>
                  <a:pt x="1172120" y="3643"/>
                </a:lnTo>
                <a:lnTo>
                  <a:pt x="1124404" y="8148"/>
                </a:lnTo>
                <a:lnTo>
                  <a:pt x="1077218" y="14398"/>
                </a:lnTo>
                <a:lnTo>
                  <a:pt x="1030593" y="22361"/>
                </a:lnTo>
                <a:lnTo>
                  <a:pt x="984563" y="32003"/>
                </a:lnTo>
                <a:lnTo>
                  <a:pt x="939161" y="43291"/>
                </a:lnTo>
                <a:lnTo>
                  <a:pt x="894420" y="56193"/>
                </a:lnTo>
                <a:lnTo>
                  <a:pt x="850372" y="70676"/>
                </a:lnTo>
                <a:lnTo>
                  <a:pt x="807050" y="86706"/>
                </a:lnTo>
                <a:lnTo>
                  <a:pt x="764488" y="104252"/>
                </a:lnTo>
                <a:lnTo>
                  <a:pt x="722717" y="123280"/>
                </a:lnTo>
                <a:lnTo>
                  <a:pt x="681772" y="143757"/>
                </a:lnTo>
                <a:lnTo>
                  <a:pt x="641684" y="165651"/>
                </a:lnTo>
                <a:lnTo>
                  <a:pt x="602487" y="188928"/>
                </a:lnTo>
                <a:lnTo>
                  <a:pt x="564214" y="213556"/>
                </a:lnTo>
                <a:lnTo>
                  <a:pt x="526897" y="239502"/>
                </a:lnTo>
                <a:lnTo>
                  <a:pt x="490569" y="266733"/>
                </a:lnTo>
                <a:lnTo>
                  <a:pt x="455263" y="295216"/>
                </a:lnTo>
                <a:lnTo>
                  <a:pt x="421012" y="324918"/>
                </a:lnTo>
                <a:lnTo>
                  <a:pt x="387849" y="355807"/>
                </a:lnTo>
                <a:lnTo>
                  <a:pt x="355807" y="387849"/>
                </a:lnTo>
                <a:lnTo>
                  <a:pt x="324918" y="421012"/>
                </a:lnTo>
                <a:lnTo>
                  <a:pt x="295216" y="455263"/>
                </a:lnTo>
                <a:lnTo>
                  <a:pt x="266733" y="490569"/>
                </a:lnTo>
                <a:lnTo>
                  <a:pt x="239502" y="526897"/>
                </a:lnTo>
                <a:lnTo>
                  <a:pt x="213556" y="564214"/>
                </a:lnTo>
                <a:lnTo>
                  <a:pt x="188928" y="602487"/>
                </a:lnTo>
                <a:lnTo>
                  <a:pt x="165651" y="641684"/>
                </a:lnTo>
                <a:lnTo>
                  <a:pt x="143757" y="681772"/>
                </a:lnTo>
                <a:lnTo>
                  <a:pt x="123280" y="722717"/>
                </a:lnTo>
                <a:lnTo>
                  <a:pt x="104252" y="764488"/>
                </a:lnTo>
                <a:lnTo>
                  <a:pt x="86706" y="807050"/>
                </a:lnTo>
                <a:lnTo>
                  <a:pt x="70676" y="850372"/>
                </a:lnTo>
                <a:lnTo>
                  <a:pt x="56193" y="894420"/>
                </a:lnTo>
                <a:lnTo>
                  <a:pt x="43291" y="939161"/>
                </a:lnTo>
                <a:lnTo>
                  <a:pt x="32003" y="984563"/>
                </a:lnTo>
                <a:lnTo>
                  <a:pt x="22361" y="1030593"/>
                </a:lnTo>
                <a:lnTo>
                  <a:pt x="14398" y="1077218"/>
                </a:lnTo>
                <a:lnTo>
                  <a:pt x="8148" y="1124404"/>
                </a:lnTo>
                <a:lnTo>
                  <a:pt x="3643" y="1172120"/>
                </a:lnTo>
                <a:lnTo>
                  <a:pt x="916" y="1220332"/>
                </a:lnTo>
                <a:lnTo>
                  <a:pt x="0" y="1269008"/>
                </a:lnTo>
                <a:lnTo>
                  <a:pt x="916" y="1317684"/>
                </a:lnTo>
                <a:lnTo>
                  <a:pt x="3643" y="1365897"/>
                </a:lnTo>
                <a:lnTo>
                  <a:pt x="8148" y="1413614"/>
                </a:lnTo>
                <a:lnTo>
                  <a:pt x="14398" y="1460801"/>
                </a:lnTo>
                <a:lnTo>
                  <a:pt x="22361" y="1507426"/>
                </a:lnTo>
                <a:lnTo>
                  <a:pt x="32003" y="1553456"/>
                </a:lnTo>
                <a:lnTo>
                  <a:pt x="43291" y="1598858"/>
                </a:lnTo>
                <a:lnTo>
                  <a:pt x="56193" y="1643600"/>
                </a:lnTo>
                <a:lnTo>
                  <a:pt x="70676" y="1687648"/>
                </a:lnTo>
                <a:lnTo>
                  <a:pt x="86706" y="1730970"/>
                </a:lnTo>
                <a:lnTo>
                  <a:pt x="104252" y="1773533"/>
                </a:lnTo>
                <a:lnTo>
                  <a:pt x="123280" y="1815303"/>
                </a:lnTo>
                <a:lnTo>
                  <a:pt x="143757" y="1856249"/>
                </a:lnTo>
                <a:lnTo>
                  <a:pt x="165651" y="1896336"/>
                </a:lnTo>
                <a:lnTo>
                  <a:pt x="188928" y="1935533"/>
                </a:lnTo>
                <a:lnTo>
                  <a:pt x="213556" y="1973807"/>
                </a:lnTo>
                <a:lnTo>
                  <a:pt x="239502" y="2011124"/>
                </a:lnTo>
                <a:lnTo>
                  <a:pt x="266733" y="2047452"/>
                </a:lnTo>
                <a:lnTo>
                  <a:pt x="295216" y="2082757"/>
                </a:lnTo>
                <a:lnTo>
                  <a:pt x="324918" y="2117008"/>
                </a:lnTo>
                <a:lnTo>
                  <a:pt x="355807" y="2150171"/>
                </a:lnTo>
                <a:lnTo>
                  <a:pt x="387849" y="2182213"/>
                </a:lnTo>
                <a:lnTo>
                  <a:pt x="421012" y="2213101"/>
                </a:lnTo>
                <a:lnTo>
                  <a:pt x="455263" y="2242804"/>
                </a:lnTo>
                <a:lnTo>
                  <a:pt x="490569" y="2271286"/>
                </a:lnTo>
                <a:lnTo>
                  <a:pt x="526897" y="2298517"/>
                </a:lnTo>
                <a:lnTo>
                  <a:pt x="564214" y="2324463"/>
                </a:lnTo>
                <a:lnTo>
                  <a:pt x="602487" y="2349090"/>
                </a:lnTo>
                <a:lnTo>
                  <a:pt x="641684" y="2372367"/>
                </a:lnTo>
                <a:lnTo>
                  <a:pt x="681772" y="2394261"/>
                </a:lnTo>
                <a:lnTo>
                  <a:pt x="722717" y="2414738"/>
                </a:lnTo>
                <a:lnTo>
                  <a:pt x="764488" y="2433765"/>
                </a:lnTo>
                <a:lnTo>
                  <a:pt x="807050" y="2451311"/>
                </a:lnTo>
                <a:lnTo>
                  <a:pt x="850372" y="2467341"/>
                </a:lnTo>
                <a:lnTo>
                  <a:pt x="894420" y="2481824"/>
                </a:lnTo>
                <a:lnTo>
                  <a:pt x="939161" y="2494726"/>
                </a:lnTo>
                <a:lnTo>
                  <a:pt x="984563" y="2506014"/>
                </a:lnTo>
                <a:lnTo>
                  <a:pt x="1030593" y="2515655"/>
                </a:lnTo>
                <a:lnTo>
                  <a:pt x="1077218" y="2523618"/>
                </a:lnTo>
                <a:lnTo>
                  <a:pt x="1124404" y="2529868"/>
                </a:lnTo>
                <a:lnTo>
                  <a:pt x="1172120" y="2534373"/>
                </a:lnTo>
                <a:lnTo>
                  <a:pt x="1220332" y="2537100"/>
                </a:lnTo>
                <a:lnTo>
                  <a:pt x="1269008" y="2538016"/>
                </a:lnTo>
                <a:close/>
              </a:path>
            </a:pathLst>
          </a:custGeom>
          <a:ln w="136121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50">
              <a:solidFill>
                <a:prstClr val="black"/>
              </a:solidFill>
            </a:endParaRPr>
          </a:p>
        </p:txBody>
      </p:sp>
      <p:sp>
        <p:nvSpPr>
          <p:cNvPr id="115" name="Picture Placeholder 3">
            <a:extLst>
              <a:ext uri="{FF2B5EF4-FFF2-40B4-BE49-F238E27FC236}">
                <a16:creationId xmlns:a16="http://schemas.microsoft.com/office/drawing/2014/main" id="{4C85F2B8-DCA3-821A-1FDD-10B301A5ADC5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56022" y="1776247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16" name="Text Placeholder 4">
            <a:extLst>
              <a:ext uri="{FF2B5EF4-FFF2-40B4-BE49-F238E27FC236}">
                <a16:creationId xmlns:a16="http://schemas.microsoft.com/office/drawing/2014/main" id="{4C132B26-D708-0D16-102B-B8B09C30A9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0863" y="3179498"/>
            <a:ext cx="1988047" cy="298450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FBF7B00-4FD9-2867-A36C-5F2D71B2364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50863" y="3505358"/>
            <a:ext cx="1988047" cy="365125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200">
                <a:solidFill>
                  <a:srgbClr val="000000"/>
                </a:solidFill>
              </a:defRPr>
            </a:lvl1pPr>
            <a:lvl2pPr marL="457200" indent="0">
              <a:buFontTx/>
              <a:buNone/>
              <a:defRPr sz="1100"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 sz="1050"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tx1"/>
                </a:solidFill>
              </a:defRPr>
            </a:lvl5pPr>
          </a:lstStyle>
          <a:p>
            <a:pPr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Lorem ipsum dolor</a:t>
            </a:r>
            <a:endParaRPr lang="ru-RU" sz="1200" dirty="0">
              <a:solidFill>
                <a:srgbClr val="0D3074"/>
              </a:solidFill>
            </a:endParaRPr>
          </a:p>
        </p:txBody>
      </p:sp>
      <p:sp>
        <p:nvSpPr>
          <p:cNvPr id="118" name="Text Placeholder 4">
            <a:extLst>
              <a:ext uri="{FF2B5EF4-FFF2-40B4-BE49-F238E27FC236}">
                <a16:creationId xmlns:a16="http://schemas.microsoft.com/office/drawing/2014/main" id="{046E7E24-9603-ABD6-8BA8-8ECDACF082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826924" y="3184884"/>
            <a:ext cx="1988047" cy="2984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120" name="Text Placeholder 4">
            <a:extLst>
              <a:ext uri="{FF2B5EF4-FFF2-40B4-BE49-F238E27FC236}">
                <a16:creationId xmlns:a16="http://schemas.microsoft.com/office/drawing/2014/main" id="{E8B8935B-F164-2AF1-231D-6D34C15C378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031633" y="3184884"/>
            <a:ext cx="1988047" cy="2984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0760F534-5ABB-7B06-72A9-635B3FF9958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314519" y="3205007"/>
            <a:ext cx="1988047" cy="2984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AB0D84B1-7F62-0C44-1B11-FCC290029AF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653090" y="3205007"/>
            <a:ext cx="1988047" cy="2984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126" name="Text Placeholder 4">
            <a:extLst>
              <a:ext uri="{FF2B5EF4-FFF2-40B4-BE49-F238E27FC236}">
                <a16:creationId xmlns:a16="http://schemas.microsoft.com/office/drawing/2014/main" id="{6BDE1C90-329B-86BD-7398-0C2C3DB6170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57739" y="5497761"/>
            <a:ext cx="1988047" cy="2984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4E754E8A-92E2-9065-02E3-C401372A2B5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33800" y="5503147"/>
            <a:ext cx="1988047" cy="2984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191C0F76-D20C-E65E-A551-34ED1AB0B7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038509" y="5503147"/>
            <a:ext cx="1988047" cy="2984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132" name="Text Placeholder 4">
            <a:extLst>
              <a:ext uri="{FF2B5EF4-FFF2-40B4-BE49-F238E27FC236}">
                <a16:creationId xmlns:a16="http://schemas.microsoft.com/office/drawing/2014/main" id="{2DE9FD52-E336-F813-E9DD-CE336E0E791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321395" y="5523270"/>
            <a:ext cx="1988047" cy="2984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134" name="Text Placeholder 4">
            <a:extLst>
              <a:ext uri="{FF2B5EF4-FFF2-40B4-BE49-F238E27FC236}">
                <a16:creationId xmlns:a16="http://schemas.microsoft.com/office/drawing/2014/main" id="{B4F3C70B-7367-7915-C87E-64EC01F3132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659966" y="5523270"/>
            <a:ext cx="1988047" cy="2984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55" name="Номер слайда 5">
            <a:extLst>
              <a:ext uri="{FF2B5EF4-FFF2-40B4-BE49-F238E27FC236}">
                <a16:creationId xmlns:a16="http://schemas.microsoft.com/office/drawing/2014/main" id="{F9F655B9-7422-3EA7-D85E-1D4F3CDB1CEE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lvl="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56" name="Picture Placeholder 3">
            <a:extLst>
              <a:ext uri="{FF2B5EF4-FFF2-40B4-BE49-F238E27FC236}">
                <a16:creationId xmlns:a16="http://schemas.microsoft.com/office/drawing/2014/main" id="{FF4254E8-6AA6-9065-B63C-00DE28DFF7C8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3128295" y="1776247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7" name="Picture Placeholder 3">
            <a:extLst>
              <a:ext uri="{FF2B5EF4-FFF2-40B4-BE49-F238E27FC236}">
                <a16:creationId xmlns:a16="http://schemas.microsoft.com/office/drawing/2014/main" id="{21C702DF-34BA-E449-5090-C47C5152A68B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5400568" y="1776247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8" name="Picture Placeholder 3">
            <a:extLst>
              <a:ext uri="{FF2B5EF4-FFF2-40B4-BE49-F238E27FC236}">
                <a16:creationId xmlns:a16="http://schemas.microsoft.com/office/drawing/2014/main" id="{A0EB6CD3-ECCD-8C9C-45C2-5586FC5B97B5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7672841" y="1776247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9" name="Picture Placeholder 3">
            <a:extLst>
              <a:ext uri="{FF2B5EF4-FFF2-40B4-BE49-F238E27FC236}">
                <a16:creationId xmlns:a16="http://schemas.microsoft.com/office/drawing/2014/main" id="{39B14C92-426C-FE5E-CE43-4EAE822E1271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9945113" y="1776247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B1709D25-AFF9-4BD9-F54F-9DF7091FBCFB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846497" y="4081297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1" name="Picture Placeholder 3">
            <a:extLst>
              <a:ext uri="{FF2B5EF4-FFF2-40B4-BE49-F238E27FC236}">
                <a16:creationId xmlns:a16="http://schemas.microsoft.com/office/drawing/2014/main" id="{B12FA546-8454-D39A-C931-4CB4BF7894EE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3118770" y="4081297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2" name="Picture Placeholder 3">
            <a:extLst>
              <a:ext uri="{FF2B5EF4-FFF2-40B4-BE49-F238E27FC236}">
                <a16:creationId xmlns:a16="http://schemas.microsoft.com/office/drawing/2014/main" id="{457E73A4-5721-890A-B47A-78BE70101D61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5391043" y="4081297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F8B0D601-8821-512B-7DA2-6CEDDE97F826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7663316" y="4081297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4" name="Picture Placeholder 3">
            <a:extLst>
              <a:ext uri="{FF2B5EF4-FFF2-40B4-BE49-F238E27FC236}">
                <a16:creationId xmlns:a16="http://schemas.microsoft.com/office/drawing/2014/main" id="{4F7A5EC4-29C0-BA94-7830-DE3EE0F88F82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9935588" y="4081297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5B10D090-79AB-F0A6-C395-DDA2FE6CC860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19113" y="3505358"/>
            <a:ext cx="1988047" cy="365125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200">
                <a:solidFill>
                  <a:srgbClr val="000000"/>
                </a:solidFill>
              </a:defRPr>
            </a:lvl1pPr>
            <a:lvl2pPr marL="457200" indent="0">
              <a:buFontTx/>
              <a:buNone/>
              <a:defRPr sz="1100"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 sz="1050"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tx1"/>
                </a:solidFill>
              </a:defRPr>
            </a:lvl5pPr>
          </a:lstStyle>
          <a:p>
            <a:pPr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Lorem ipsum dolor</a:t>
            </a:r>
            <a:endParaRPr lang="ru-RU" sz="1200" dirty="0">
              <a:solidFill>
                <a:srgbClr val="0D3074"/>
              </a:solidFill>
            </a:endParaRP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0DAD27EF-F1D0-4068-9E30-38527D4CB19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038508" y="3515919"/>
            <a:ext cx="1988047" cy="365125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200">
                <a:solidFill>
                  <a:srgbClr val="000000"/>
                </a:solidFill>
              </a:defRPr>
            </a:lvl1pPr>
            <a:lvl2pPr marL="457200" indent="0">
              <a:buFontTx/>
              <a:buNone/>
              <a:defRPr sz="1100"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 sz="1050"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tx1"/>
                </a:solidFill>
              </a:defRPr>
            </a:lvl5pPr>
          </a:lstStyle>
          <a:p>
            <a:pPr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Lorem ipsum dolor</a:t>
            </a:r>
            <a:endParaRPr lang="ru-RU" sz="1200" dirty="0">
              <a:solidFill>
                <a:srgbClr val="0D3074"/>
              </a:solidFill>
            </a:endParaRP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B41B9E03-C762-C6A1-9866-C92B7060E27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7306758" y="3535305"/>
            <a:ext cx="1988047" cy="365125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200">
                <a:solidFill>
                  <a:srgbClr val="000000"/>
                </a:solidFill>
              </a:defRPr>
            </a:lvl1pPr>
            <a:lvl2pPr marL="457200" indent="0">
              <a:buFontTx/>
              <a:buNone/>
              <a:defRPr sz="1100"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 sz="1050"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tx1"/>
                </a:solidFill>
              </a:defRPr>
            </a:lvl5pPr>
          </a:lstStyle>
          <a:p>
            <a:pPr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Lorem ipsum dolor</a:t>
            </a:r>
            <a:endParaRPr lang="ru-RU" sz="1200" dirty="0">
              <a:solidFill>
                <a:srgbClr val="0D3074"/>
              </a:solidFill>
            </a:endParaRP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8BD66408-D01A-838F-7FD6-B13E3CD6696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9659965" y="3535305"/>
            <a:ext cx="1988047" cy="365125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200">
                <a:solidFill>
                  <a:srgbClr val="000000"/>
                </a:solidFill>
              </a:defRPr>
            </a:lvl1pPr>
            <a:lvl2pPr marL="457200" indent="0">
              <a:buFontTx/>
              <a:buNone/>
              <a:defRPr sz="1100"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 sz="1050"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tx1"/>
                </a:solidFill>
              </a:defRPr>
            </a:lvl5pPr>
          </a:lstStyle>
          <a:p>
            <a:pPr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Lorem ipsum dolor</a:t>
            </a:r>
            <a:endParaRPr lang="ru-RU" sz="1200" dirty="0">
              <a:solidFill>
                <a:srgbClr val="0D3074"/>
              </a:solidFill>
            </a:endParaRP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27D07145-EFBF-9E73-3CD8-5773C3A69D5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65106" y="5829746"/>
            <a:ext cx="1988047" cy="365125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200">
                <a:solidFill>
                  <a:srgbClr val="000000"/>
                </a:solidFill>
              </a:defRPr>
            </a:lvl1pPr>
            <a:lvl2pPr marL="457200" indent="0">
              <a:buFontTx/>
              <a:buNone/>
              <a:defRPr sz="1100"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 sz="1050"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tx1"/>
                </a:solidFill>
              </a:defRPr>
            </a:lvl5pPr>
          </a:lstStyle>
          <a:p>
            <a:pPr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Lorem ipsum dolor</a:t>
            </a:r>
            <a:endParaRPr lang="ru-RU" sz="1200" dirty="0">
              <a:solidFill>
                <a:srgbClr val="0D3074"/>
              </a:solidFill>
            </a:endParaRP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88237E08-F8A8-28B5-0A14-2D7B9542F29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2833356" y="5829746"/>
            <a:ext cx="1988047" cy="365125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200">
                <a:solidFill>
                  <a:srgbClr val="000000"/>
                </a:solidFill>
              </a:defRPr>
            </a:lvl1pPr>
            <a:lvl2pPr marL="457200" indent="0">
              <a:buFontTx/>
              <a:buNone/>
              <a:defRPr sz="1100"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 sz="1050"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tx1"/>
                </a:solidFill>
              </a:defRPr>
            </a:lvl5pPr>
          </a:lstStyle>
          <a:p>
            <a:pPr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Lorem ipsum dolor</a:t>
            </a:r>
            <a:endParaRPr lang="ru-RU" sz="1200" dirty="0">
              <a:solidFill>
                <a:srgbClr val="0D3074"/>
              </a:solidFill>
            </a:endParaRP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0A80D66F-0D13-6AB4-3E1C-FDC3D56C06B3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052751" y="5840307"/>
            <a:ext cx="1988047" cy="365125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200">
                <a:solidFill>
                  <a:srgbClr val="000000"/>
                </a:solidFill>
              </a:defRPr>
            </a:lvl1pPr>
            <a:lvl2pPr marL="457200" indent="0">
              <a:buFontTx/>
              <a:buNone/>
              <a:defRPr sz="1100"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 sz="1050"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tx1"/>
                </a:solidFill>
              </a:defRPr>
            </a:lvl5pPr>
          </a:lstStyle>
          <a:p>
            <a:pPr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Lorem ipsum dolor</a:t>
            </a:r>
            <a:endParaRPr lang="ru-RU" sz="1200" dirty="0">
              <a:solidFill>
                <a:srgbClr val="0D3074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3F0F892-37DB-D02C-0FAE-DFDBB8B09C0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7321001" y="5859693"/>
            <a:ext cx="1988047" cy="365125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200">
                <a:solidFill>
                  <a:srgbClr val="000000"/>
                </a:solidFill>
              </a:defRPr>
            </a:lvl1pPr>
            <a:lvl2pPr marL="457200" indent="0">
              <a:buFontTx/>
              <a:buNone/>
              <a:defRPr sz="1100"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 sz="1050"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tx1"/>
                </a:solidFill>
              </a:defRPr>
            </a:lvl5pPr>
          </a:lstStyle>
          <a:p>
            <a:pPr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Lorem ipsum dolor</a:t>
            </a:r>
            <a:endParaRPr lang="ru-RU" sz="1200" dirty="0">
              <a:solidFill>
                <a:srgbClr val="0D3074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ACD9EEED-0814-EE1C-CFBD-AE9F3A3A656A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9674208" y="5859693"/>
            <a:ext cx="1988047" cy="365125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200">
                <a:solidFill>
                  <a:srgbClr val="000000"/>
                </a:solidFill>
              </a:defRPr>
            </a:lvl1pPr>
            <a:lvl2pPr marL="457200" indent="0">
              <a:buFontTx/>
              <a:buNone/>
              <a:defRPr sz="1100">
                <a:solidFill>
                  <a:schemeClr val="tx1"/>
                </a:solidFill>
              </a:defRPr>
            </a:lvl2pPr>
            <a:lvl3pPr marL="914400" indent="0">
              <a:buFontTx/>
              <a:buNone/>
              <a:defRPr sz="1050">
                <a:solidFill>
                  <a:schemeClr val="tx1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tx1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tx1"/>
                </a:solidFill>
              </a:defRPr>
            </a:lvl5pPr>
          </a:lstStyle>
          <a:p>
            <a:pPr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Lorem ipsum dolor</a:t>
            </a:r>
            <a:endParaRPr lang="ru-RU" sz="1200" dirty="0">
              <a:solidFill>
                <a:srgbClr val="0D3074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A937D0A5-510E-3A2D-E491-B080EDE4E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5812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979912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33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сотрудников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974307"/>
            <a:ext cx="11243637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44" name="Дата 3">
            <a:extLst>
              <a:ext uri="{FF2B5EF4-FFF2-40B4-BE49-F238E27FC236}">
                <a16:creationId xmlns:a16="http://schemas.microsoft.com/office/drawing/2014/main" id="{35EFBECD-A71E-CB4B-81F3-F4F7C576EE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B0FBDA8A-9D71-5FB3-2C84-F73721B64932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96834" y="1748461"/>
            <a:ext cx="1080000" cy="1077963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7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60F6ABA0-3E04-781F-B4C6-3B4034B2ED8F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96900" y="3163028"/>
            <a:ext cx="1080000" cy="1077963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0501CB88-8C90-4B8B-6C62-0583A869FA1D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596900" y="4605077"/>
            <a:ext cx="1080000" cy="1077963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2BDA5839-0260-F65D-3410-D56BD067197E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6538386" y="1737184"/>
            <a:ext cx="1080000" cy="1077963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975CECFC-5B75-186C-94BA-38EA5D1460E6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6540500" y="3152770"/>
            <a:ext cx="1080000" cy="1077963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15930FDC-B63F-8BB2-1848-374F1D679B77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6528861" y="4593145"/>
            <a:ext cx="1080000" cy="1077963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61CFC321-7017-FB40-51AE-1F28CE84AA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76095" y="1806384"/>
            <a:ext cx="2782887" cy="29845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Иванов Иван Иванович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B6086A58-6B49-61D6-63F7-E71E3F0C73C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803613" y="1801997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ru-RU" sz="1600" b="1" i="0" u="none" strike="noStrike" kern="1200" cap="none" spc="0" normalizeH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Иванов Иван Иванович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E115235-2EF7-EB1F-5756-CD54D97921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869471" y="3240933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ru-RU" sz="1600" b="1" i="0" u="none" strike="noStrike" kern="1200" cap="none" spc="0" normalizeH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Иванов Иван Иванович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3DA89972-7A22-B237-E4FF-172DD8B7143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796989" y="3236546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ru-RU" sz="1600" b="1" i="0" u="none" strike="noStrike" kern="1200" cap="none" spc="0" normalizeH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Иванов Иван Иванович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EAB4B580-89F6-B8DC-A18E-F7E9C318848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879410" y="4672156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ru-RU" sz="1600" b="1" i="0" u="none" strike="noStrike" kern="1200" cap="none" spc="0" normalizeH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Иванов Иван Иванович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37ADAEBB-2CEA-FD6E-0593-76238D63807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06928" y="4667769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ru-RU" sz="1600" b="1" i="0" u="none" strike="noStrike" kern="1200" cap="none" spc="0" normalizeH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Иванов Иван Иванович</a:t>
            </a:r>
          </a:p>
        </p:txBody>
      </p:sp>
      <p:sp>
        <p:nvSpPr>
          <p:cNvPr id="31" name="Номер слайда 5">
            <a:extLst>
              <a:ext uri="{FF2B5EF4-FFF2-40B4-BE49-F238E27FC236}">
                <a16:creationId xmlns:a16="http://schemas.microsoft.com/office/drawing/2014/main" id="{6A7F9804-A18D-DEBA-09F6-6C8A0D464EED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algn="r" defTabSz="91430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BD5ACEB3-BF97-08BB-414A-0C87ED2F211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63261" y="2105042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ru-RU" sz="1400" dirty="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982A21-E4B7-8804-6482-E83EE6508EB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876095" y="3552084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BADA1DE2-F351-01B9-FCDF-92667C8AD0E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863261" y="4977883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2097352F-10B9-C987-F477-D0172FAE752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803619" y="2105042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3B31882-CC99-904C-EF83-6287062EA50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816453" y="3552084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39AF7E8-46F0-E77F-8F4C-851C4D55B3A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803619" y="4977883"/>
            <a:ext cx="3608592" cy="74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marL="0" lvl="0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E31F25E5-193B-A0D1-7A66-52DDD87F40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58891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36585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сотрудников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974307"/>
            <a:ext cx="11243637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44" name="Дата 3">
            <a:extLst>
              <a:ext uri="{FF2B5EF4-FFF2-40B4-BE49-F238E27FC236}">
                <a16:creationId xmlns:a16="http://schemas.microsoft.com/office/drawing/2014/main" id="{35EFBECD-A71E-CB4B-81F3-F4F7C576EE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3682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54A66AD5-B2FD-EF65-5206-6BD6EFF8BE90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587375" y="1720862"/>
            <a:ext cx="1080000" cy="1077963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93AA9443-AB13-2AE8-73CD-B639C5ADD0FC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587375" y="3188908"/>
            <a:ext cx="1080000" cy="1077963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FFD1C489-2ABE-739B-3042-4078CD27F3BA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587375" y="4605077"/>
            <a:ext cx="1080000" cy="1077963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816ED943-6439-510B-6A4C-C051317222D0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6519336" y="1737184"/>
            <a:ext cx="1080000" cy="1077963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2C135C18-9479-0F10-D307-E46CFD9FE64A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6530975" y="3162296"/>
            <a:ext cx="1080000" cy="1077963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DE0A95F7-086C-7057-325F-333F98EE0F05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6519336" y="4588382"/>
            <a:ext cx="1080000" cy="1077963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77C8E6AF-888C-D3B4-4236-08CC346DF9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813552" y="1801997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None/>
            </a:pPr>
            <a:r>
              <a:rPr lang="ru-RU" sz="1600" dirty="0"/>
              <a:t>Иванов Иван Иванович</a:t>
            </a:r>
            <a:endParaRPr lang="ru-RU" sz="1200" b="0" dirty="0">
              <a:solidFill>
                <a:srgbClr val="FFFFFF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1405048B-CAB9-59ED-2B7F-EED4444022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879410" y="3240933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None/>
            </a:pPr>
            <a:r>
              <a:rPr lang="ru-RU" sz="1600" dirty="0"/>
              <a:t>Иванов Иван Иванович</a:t>
            </a:r>
            <a:endParaRPr lang="ru-RU" sz="1200" b="0" dirty="0">
              <a:solidFill>
                <a:srgbClr val="FFFFFF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648C3B00-E268-6168-B2E7-1364A4A9889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06928" y="3236546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None/>
            </a:pPr>
            <a:r>
              <a:rPr lang="ru-RU" sz="1600" dirty="0"/>
              <a:t>Иванов Иван Иванович</a:t>
            </a:r>
            <a:endParaRPr lang="ru-RU" sz="1200" b="0" dirty="0">
              <a:solidFill>
                <a:srgbClr val="FFFFFF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8760F349-9A09-1F4F-CA36-4C42F2DCDCF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16867" y="4667769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None/>
            </a:pPr>
            <a:r>
              <a:rPr lang="ru-RU" sz="1600" dirty="0"/>
              <a:t>Иванов Иван Иванович</a:t>
            </a:r>
            <a:endParaRPr lang="ru-RU" sz="1200" b="0" dirty="0">
              <a:solidFill>
                <a:srgbClr val="FFFFFF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ED5CA317-F62A-608F-BB7E-7546057FB7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795288" y="2120641"/>
            <a:ext cx="3885286" cy="742987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ru-RU" sz="14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amet, consectetur adipiscing elit, sed do eiusmod tempor incididunt ut labore et dolore magna aliqua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68" name="Text Placeholder 4">
            <a:extLst>
              <a:ext uri="{FF2B5EF4-FFF2-40B4-BE49-F238E27FC236}">
                <a16:creationId xmlns:a16="http://schemas.microsoft.com/office/drawing/2014/main" id="{ED5ED4C0-4AA8-3CE8-627B-F64DA562F0A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851687" y="1818846"/>
            <a:ext cx="2782887" cy="29845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>
              <a:buClrTx/>
              <a:buSzTx/>
              <a:buFont typeface="Arial" panose="020B0604020202020204" pitchFamily="34" charset="0"/>
              <a:buNone/>
              <a:defRPr/>
            </a:pPr>
            <a:r>
              <a:rPr lang="ru-RU" sz="1600" dirty="0"/>
              <a:t>Иванов Иван Иванович</a:t>
            </a:r>
            <a:endParaRPr lang="ru-RU" sz="1200" b="0" dirty="0">
              <a:solidFill>
                <a:srgbClr val="FFFFFF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69" name="Text Placeholder 4">
            <a:extLst>
              <a:ext uri="{FF2B5EF4-FFF2-40B4-BE49-F238E27FC236}">
                <a16:creationId xmlns:a16="http://schemas.microsoft.com/office/drawing/2014/main" id="{73B32FE2-59CF-AFFC-96C2-DFB3C3A546F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879410" y="4660943"/>
            <a:ext cx="2782887" cy="298450"/>
          </a:xfrm>
        </p:spPr>
        <p:txBody>
          <a:bodyPr vert="horz" lIns="0" tIns="0" rIns="0" bIns="0" rtlCol="0">
            <a:noAutofit/>
          </a:bodyPr>
          <a:lstStyle>
            <a:lvl1pPr>
              <a:defRPr lang="ru-RU" sz="1600" b="1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ClrTx/>
              <a:buSzTx/>
              <a:buFont typeface="Arial" panose="020B0604020202020204" pitchFamily="34" charset="0"/>
              <a:buNone/>
            </a:pPr>
            <a:r>
              <a:rPr lang="ru-RU" sz="1600" dirty="0"/>
              <a:t>Иванов Иван Иванович</a:t>
            </a:r>
            <a:endParaRPr lang="ru-RU" sz="1200" b="0" dirty="0">
              <a:solidFill>
                <a:srgbClr val="FFFFFF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F2AF57CE-6BF3-FEB9-E10F-7DFDAE39C49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851687" y="2120641"/>
            <a:ext cx="3885286" cy="74298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amet, consectetur adipiscing elit, sed do eiusmod tempor incididunt ut labore et dolore magna aliqua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71" name="Text Placeholder 4">
            <a:extLst>
              <a:ext uri="{FF2B5EF4-FFF2-40B4-BE49-F238E27FC236}">
                <a16:creationId xmlns:a16="http://schemas.microsoft.com/office/drawing/2014/main" id="{FC0D9ED0-C505-F737-052A-BF7FFECCE34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878514" y="3580894"/>
            <a:ext cx="3885286" cy="742987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ru-RU" sz="14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amet, consectetur adipiscing elit, sed do eiusmod tempor incididunt ut labore et dolore magna aliqua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72" name="Text Placeholder 4">
            <a:extLst>
              <a:ext uri="{FF2B5EF4-FFF2-40B4-BE49-F238E27FC236}">
                <a16:creationId xmlns:a16="http://schemas.microsoft.com/office/drawing/2014/main" id="{D7E0A54E-A976-3363-7E35-E84FB00DA6D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871565" y="4969431"/>
            <a:ext cx="3885286" cy="742987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ru-RU" sz="14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amet, consectetur adipiscing elit, sed do eiusmod tempor incididunt ut labore et dolore magna aliqua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50417806-0F70-305B-64A0-A23FA737EC4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795288" y="3541977"/>
            <a:ext cx="3885286" cy="742987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ru-RU" sz="14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amet, consectetur adipiscing elit, sed do eiusmod tempor incididunt ut labore et dolore magna aliqua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74" name="Text Placeholder 4">
            <a:extLst>
              <a:ext uri="{FF2B5EF4-FFF2-40B4-BE49-F238E27FC236}">
                <a16:creationId xmlns:a16="http://schemas.microsoft.com/office/drawing/2014/main" id="{8B6558BC-E69E-0EE8-1A28-C9804A4256A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813552" y="4969431"/>
            <a:ext cx="3885286" cy="742987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ru-RU" sz="14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amet, consectetur adipiscing elit, sed do eiusmod tempor incididunt ut labore et dolore magna aliqua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3" name="Номер слайда 5">
            <a:extLst>
              <a:ext uri="{FF2B5EF4-FFF2-40B4-BE49-F238E27FC236}">
                <a16:creationId xmlns:a16="http://schemas.microsoft.com/office/drawing/2014/main" id="{9DA14FD5-2B82-436A-8D68-0898BF2A6126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algn="r" defTabSz="91430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FDCEF62-A7A5-CC37-0A5C-066F765CC9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59596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085766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380D1F6D-7D1B-49DE-BE52-531034D79A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2382" y="1306327"/>
            <a:ext cx="5459689" cy="55403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rgbClr val="000000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0FE6E5ED-D573-8BF8-040E-EE3D63E44E2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152415" y="1899120"/>
            <a:ext cx="2844000" cy="2844000"/>
          </a:xfrm>
          <a:prstGeom prst="ellipse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0" name="Номер слайда 5">
            <a:extLst>
              <a:ext uri="{FF2B5EF4-FFF2-40B4-BE49-F238E27FC236}">
                <a16:creationId xmlns:a16="http://schemas.microsoft.com/office/drawing/2014/main" id="{9122BD28-8E3E-C462-D781-7E37AF1731B9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C11AEBAA-97BD-8528-5CE3-03C4836567C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74000" y="1821417"/>
            <a:ext cx="2844000" cy="2844000"/>
          </a:xfrm>
          <a:prstGeom prst="ellipse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9E320793-F0A4-BCD5-B36F-A12E25526BD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95585" y="1821417"/>
            <a:ext cx="2844000" cy="2844000"/>
          </a:xfrm>
          <a:prstGeom prst="ellipse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781B0F9-24DD-55C8-015B-99F0D2E4885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577443" y="4860928"/>
            <a:ext cx="1781175" cy="365125"/>
          </a:xfrm>
        </p:spPr>
        <p:txBody>
          <a:bodyPr>
            <a:noAutofit/>
          </a:bodyPr>
          <a:lstStyle>
            <a:lvl1pPr marL="0" indent="0" algn="ctr">
              <a:lnSpc>
                <a:spcPts val="2000"/>
              </a:lnSpc>
              <a:buFontTx/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B9B1D58-D207-72DE-04EA-3524D9C7ABE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15517" y="5209686"/>
            <a:ext cx="2105025" cy="1099039"/>
          </a:xfrm>
        </p:spPr>
        <p:txBody>
          <a:bodyPr>
            <a:noAutofit/>
          </a:bodyPr>
          <a:lstStyle>
            <a:lvl1pPr marL="0" indent="0" algn="ctr">
              <a:lnSpc>
                <a:spcPts val="1200"/>
              </a:lnSpc>
              <a:buNone/>
              <a:defRPr sz="1200">
                <a:solidFill>
                  <a:srgbClr val="000000"/>
                </a:solidFill>
              </a:defRPr>
            </a:lvl1pPr>
            <a:lvl2pPr marL="457200" indent="0">
              <a:buNone/>
              <a:defRPr sz="1200">
                <a:solidFill>
                  <a:schemeClr val="accent4"/>
                </a:solidFill>
              </a:defRPr>
            </a:lvl2pPr>
            <a:lvl3pPr marL="914400" indent="0">
              <a:buNone/>
              <a:defRPr sz="1200">
                <a:solidFill>
                  <a:schemeClr val="accent4"/>
                </a:solidFill>
              </a:defRPr>
            </a:lvl3pPr>
            <a:lvl4pPr marL="1371600" indent="0">
              <a:buNone/>
              <a:defRPr sz="1200">
                <a:solidFill>
                  <a:schemeClr val="accent4"/>
                </a:solidFill>
              </a:defRPr>
            </a:lvl4pPr>
            <a:lvl5pPr marL="1828800" indent="0">
              <a:buNone/>
              <a:defRPr sz="1200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C7B1540F-EF0C-FC35-6B14-C9606AA32E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205412" y="4844561"/>
            <a:ext cx="1781175" cy="365125"/>
          </a:xfrm>
        </p:spPr>
        <p:txBody>
          <a:bodyPr>
            <a:noAutofit/>
          </a:bodyPr>
          <a:lstStyle>
            <a:lvl1pPr marL="0" indent="0" algn="ctr">
              <a:lnSpc>
                <a:spcPts val="2000"/>
              </a:lnSpc>
              <a:buFontTx/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5335FD41-DFE6-41B5-99E4-AB66C432598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043486" y="5193319"/>
            <a:ext cx="2105025" cy="1099039"/>
          </a:xfrm>
        </p:spPr>
        <p:txBody>
          <a:bodyPr>
            <a:noAutofit/>
          </a:bodyPr>
          <a:lstStyle>
            <a:lvl1pPr marL="0" indent="0" algn="ctr">
              <a:lnSpc>
                <a:spcPts val="1200"/>
              </a:lnSpc>
              <a:buNone/>
              <a:defRPr sz="1200">
                <a:solidFill>
                  <a:schemeClr val="accent4"/>
                </a:solidFill>
              </a:defRPr>
            </a:lvl1pPr>
            <a:lvl2pPr marL="457200" indent="0">
              <a:buNone/>
              <a:defRPr sz="1200">
                <a:solidFill>
                  <a:schemeClr val="accent4"/>
                </a:solidFill>
              </a:defRPr>
            </a:lvl2pPr>
            <a:lvl3pPr marL="914400" indent="0">
              <a:buNone/>
              <a:defRPr sz="1200">
                <a:solidFill>
                  <a:schemeClr val="accent4"/>
                </a:solidFill>
              </a:defRPr>
            </a:lvl3pPr>
            <a:lvl4pPr marL="1371600" indent="0">
              <a:buNone/>
              <a:defRPr sz="1200">
                <a:solidFill>
                  <a:schemeClr val="accent4"/>
                </a:solidFill>
              </a:defRPr>
            </a:lvl4pPr>
            <a:lvl5pPr marL="1828800" indent="0">
              <a:buNone/>
              <a:defRPr sz="1200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222B312C-1AAA-B171-9236-75C83E4F997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833384" y="4860928"/>
            <a:ext cx="1781175" cy="365125"/>
          </a:xfrm>
        </p:spPr>
        <p:txBody>
          <a:bodyPr>
            <a:noAutofit/>
          </a:bodyPr>
          <a:lstStyle>
            <a:lvl1pPr marL="0" indent="0" algn="ctr">
              <a:lnSpc>
                <a:spcPts val="2000"/>
              </a:lnSpc>
              <a:buFontTx/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3FDABF09-9E4F-C25A-8841-FE4478EF4A9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671458" y="5209686"/>
            <a:ext cx="2105025" cy="1099039"/>
          </a:xfrm>
        </p:spPr>
        <p:txBody>
          <a:bodyPr>
            <a:noAutofit/>
          </a:bodyPr>
          <a:lstStyle>
            <a:lvl1pPr marL="0" indent="0" algn="ctr">
              <a:lnSpc>
                <a:spcPts val="1200"/>
              </a:lnSpc>
              <a:buNone/>
              <a:defRPr sz="1200">
                <a:solidFill>
                  <a:schemeClr val="accent4"/>
                </a:solidFill>
              </a:defRPr>
            </a:lvl1pPr>
            <a:lvl2pPr marL="457200" indent="0">
              <a:buNone/>
              <a:defRPr sz="1200">
                <a:solidFill>
                  <a:schemeClr val="accent4"/>
                </a:solidFill>
              </a:defRPr>
            </a:lvl2pPr>
            <a:lvl3pPr marL="914400" indent="0">
              <a:buNone/>
              <a:defRPr sz="1200">
                <a:solidFill>
                  <a:schemeClr val="accent4"/>
                </a:solidFill>
              </a:defRPr>
            </a:lvl3pPr>
            <a:lvl4pPr marL="1371600" indent="0">
              <a:buNone/>
              <a:defRPr sz="1200">
                <a:solidFill>
                  <a:schemeClr val="accent4"/>
                </a:solidFill>
              </a:defRPr>
            </a:lvl4pPr>
            <a:lvl5pPr marL="1828800" indent="0">
              <a:buNone/>
              <a:defRPr sz="1200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310953C-D97F-7864-86AF-5C5E0A14E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20048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ject 2">
            <a:extLst>
              <a:ext uri="{FF2B5EF4-FFF2-40B4-BE49-F238E27FC236}">
                <a16:creationId xmlns:a16="http://schemas.microsoft.com/office/drawing/2014/main" id="{7120B86A-761A-2BE5-0869-15F530364143}"/>
              </a:ext>
            </a:extLst>
          </p:cNvPr>
          <p:cNvSpPr/>
          <p:nvPr userDrawn="1"/>
        </p:nvSpPr>
        <p:spPr>
          <a:xfrm>
            <a:off x="808065" y="2069104"/>
            <a:ext cx="2245312" cy="2241076"/>
          </a:xfrm>
          <a:custGeom>
            <a:avLst/>
            <a:gdLst/>
            <a:ahLst/>
            <a:cxnLst/>
            <a:rect l="l" t="t" r="r" b="b"/>
            <a:pathLst>
              <a:path w="3702684" h="3695700">
                <a:moveTo>
                  <a:pt x="2090509" y="3683000"/>
                </a:moveTo>
                <a:lnTo>
                  <a:pt x="1611639" y="3683000"/>
                </a:lnTo>
                <a:lnTo>
                  <a:pt x="1658849" y="3695700"/>
                </a:lnTo>
                <a:lnTo>
                  <a:pt x="2043299" y="3695700"/>
                </a:lnTo>
                <a:lnTo>
                  <a:pt x="2090509" y="3683000"/>
                </a:lnTo>
                <a:close/>
              </a:path>
              <a:path w="3702684" h="3695700">
                <a:moveTo>
                  <a:pt x="2229866" y="3657600"/>
                </a:moveTo>
                <a:lnTo>
                  <a:pt x="1472282" y="3657600"/>
                </a:lnTo>
                <a:lnTo>
                  <a:pt x="1564797" y="3683000"/>
                </a:lnTo>
                <a:lnTo>
                  <a:pt x="2137351" y="3683000"/>
                </a:lnTo>
                <a:lnTo>
                  <a:pt x="2229866" y="3657600"/>
                </a:lnTo>
                <a:close/>
              </a:path>
              <a:path w="3702684" h="3695700">
                <a:moveTo>
                  <a:pt x="2183808" y="25400"/>
                </a:moveTo>
                <a:lnTo>
                  <a:pt x="1518340" y="25400"/>
                </a:lnTo>
                <a:lnTo>
                  <a:pt x="1426638" y="50800"/>
                </a:lnTo>
                <a:lnTo>
                  <a:pt x="1162336" y="127000"/>
                </a:lnTo>
                <a:lnTo>
                  <a:pt x="1120021" y="152400"/>
                </a:lnTo>
                <a:lnTo>
                  <a:pt x="1078243" y="165100"/>
                </a:lnTo>
                <a:lnTo>
                  <a:pt x="1037016" y="190500"/>
                </a:lnTo>
                <a:lnTo>
                  <a:pt x="996357" y="203200"/>
                </a:lnTo>
                <a:lnTo>
                  <a:pt x="916799" y="254000"/>
                </a:lnTo>
                <a:lnTo>
                  <a:pt x="877932" y="279400"/>
                </a:lnTo>
                <a:lnTo>
                  <a:pt x="839693" y="304800"/>
                </a:lnTo>
                <a:lnTo>
                  <a:pt x="802096" y="330200"/>
                </a:lnTo>
                <a:lnTo>
                  <a:pt x="765159" y="355600"/>
                </a:lnTo>
                <a:lnTo>
                  <a:pt x="728895" y="381000"/>
                </a:lnTo>
                <a:lnTo>
                  <a:pt x="693319" y="406400"/>
                </a:lnTo>
                <a:lnTo>
                  <a:pt x="658448" y="431800"/>
                </a:lnTo>
                <a:lnTo>
                  <a:pt x="624297" y="469900"/>
                </a:lnTo>
                <a:lnTo>
                  <a:pt x="590880" y="495300"/>
                </a:lnTo>
                <a:lnTo>
                  <a:pt x="558213" y="520700"/>
                </a:lnTo>
                <a:lnTo>
                  <a:pt x="526311" y="558800"/>
                </a:lnTo>
                <a:lnTo>
                  <a:pt x="495189" y="596900"/>
                </a:lnTo>
                <a:lnTo>
                  <a:pt x="464863" y="622300"/>
                </a:lnTo>
                <a:lnTo>
                  <a:pt x="435347" y="660400"/>
                </a:lnTo>
                <a:lnTo>
                  <a:pt x="406658" y="698500"/>
                </a:lnTo>
                <a:lnTo>
                  <a:pt x="378810" y="723900"/>
                </a:lnTo>
                <a:lnTo>
                  <a:pt x="351819" y="762000"/>
                </a:lnTo>
                <a:lnTo>
                  <a:pt x="325700" y="800100"/>
                </a:lnTo>
                <a:lnTo>
                  <a:pt x="300467" y="838200"/>
                </a:lnTo>
                <a:lnTo>
                  <a:pt x="276137" y="876300"/>
                </a:lnTo>
                <a:lnTo>
                  <a:pt x="252724" y="914400"/>
                </a:lnTo>
                <a:lnTo>
                  <a:pt x="230245" y="952500"/>
                </a:lnTo>
                <a:lnTo>
                  <a:pt x="208713" y="990600"/>
                </a:lnTo>
                <a:lnTo>
                  <a:pt x="188144" y="1041400"/>
                </a:lnTo>
                <a:lnTo>
                  <a:pt x="168554" y="1079500"/>
                </a:lnTo>
                <a:lnTo>
                  <a:pt x="149958" y="1117600"/>
                </a:lnTo>
                <a:lnTo>
                  <a:pt x="132370" y="1168400"/>
                </a:lnTo>
                <a:lnTo>
                  <a:pt x="115807" y="1206500"/>
                </a:lnTo>
                <a:lnTo>
                  <a:pt x="100283" y="1244600"/>
                </a:lnTo>
                <a:lnTo>
                  <a:pt x="85814" y="1295400"/>
                </a:lnTo>
                <a:lnTo>
                  <a:pt x="72415" y="1333500"/>
                </a:lnTo>
                <a:lnTo>
                  <a:pt x="60101" y="1384300"/>
                </a:lnTo>
                <a:lnTo>
                  <a:pt x="48887" y="1422400"/>
                </a:lnTo>
                <a:lnTo>
                  <a:pt x="38790" y="1473200"/>
                </a:lnTo>
                <a:lnTo>
                  <a:pt x="29823" y="1524000"/>
                </a:lnTo>
                <a:lnTo>
                  <a:pt x="22002" y="1562100"/>
                </a:lnTo>
                <a:lnTo>
                  <a:pt x="15342" y="1612900"/>
                </a:lnTo>
                <a:lnTo>
                  <a:pt x="9860" y="1663700"/>
                </a:lnTo>
                <a:lnTo>
                  <a:pt x="5569" y="1701800"/>
                </a:lnTo>
                <a:lnTo>
                  <a:pt x="2485" y="1752600"/>
                </a:lnTo>
                <a:lnTo>
                  <a:pt x="623" y="1803400"/>
                </a:lnTo>
                <a:lnTo>
                  <a:pt x="0" y="1854200"/>
                </a:lnTo>
                <a:lnTo>
                  <a:pt x="623" y="1905000"/>
                </a:lnTo>
                <a:lnTo>
                  <a:pt x="2485" y="1943100"/>
                </a:lnTo>
                <a:lnTo>
                  <a:pt x="5569" y="1993900"/>
                </a:lnTo>
                <a:lnTo>
                  <a:pt x="9860" y="2044700"/>
                </a:lnTo>
                <a:lnTo>
                  <a:pt x="15342" y="2095500"/>
                </a:lnTo>
                <a:lnTo>
                  <a:pt x="22002" y="2133600"/>
                </a:lnTo>
                <a:lnTo>
                  <a:pt x="29823" y="2184400"/>
                </a:lnTo>
                <a:lnTo>
                  <a:pt x="38790" y="2235200"/>
                </a:lnTo>
                <a:lnTo>
                  <a:pt x="48887" y="2273300"/>
                </a:lnTo>
                <a:lnTo>
                  <a:pt x="60101" y="2324100"/>
                </a:lnTo>
                <a:lnTo>
                  <a:pt x="72415" y="2362200"/>
                </a:lnTo>
                <a:lnTo>
                  <a:pt x="85814" y="2413000"/>
                </a:lnTo>
                <a:lnTo>
                  <a:pt x="100283" y="2451100"/>
                </a:lnTo>
                <a:lnTo>
                  <a:pt x="115807" y="2501900"/>
                </a:lnTo>
                <a:lnTo>
                  <a:pt x="132370" y="2540000"/>
                </a:lnTo>
                <a:lnTo>
                  <a:pt x="149958" y="2578100"/>
                </a:lnTo>
                <a:lnTo>
                  <a:pt x="168554" y="2628900"/>
                </a:lnTo>
                <a:lnTo>
                  <a:pt x="188144" y="2667000"/>
                </a:lnTo>
                <a:lnTo>
                  <a:pt x="208713" y="2705100"/>
                </a:lnTo>
                <a:lnTo>
                  <a:pt x="230245" y="2743200"/>
                </a:lnTo>
                <a:lnTo>
                  <a:pt x="252724" y="2781300"/>
                </a:lnTo>
                <a:lnTo>
                  <a:pt x="276137" y="2819400"/>
                </a:lnTo>
                <a:lnTo>
                  <a:pt x="300467" y="2857500"/>
                </a:lnTo>
                <a:lnTo>
                  <a:pt x="325700" y="2895600"/>
                </a:lnTo>
                <a:lnTo>
                  <a:pt x="351819" y="2933700"/>
                </a:lnTo>
                <a:lnTo>
                  <a:pt x="378810" y="2971800"/>
                </a:lnTo>
                <a:lnTo>
                  <a:pt x="406658" y="3009900"/>
                </a:lnTo>
                <a:lnTo>
                  <a:pt x="435347" y="3048000"/>
                </a:lnTo>
                <a:lnTo>
                  <a:pt x="464863" y="3073400"/>
                </a:lnTo>
                <a:lnTo>
                  <a:pt x="495189" y="3111500"/>
                </a:lnTo>
                <a:lnTo>
                  <a:pt x="526311" y="3149600"/>
                </a:lnTo>
                <a:lnTo>
                  <a:pt x="558213" y="3175000"/>
                </a:lnTo>
                <a:lnTo>
                  <a:pt x="590880" y="3213100"/>
                </a:lnTo>
                <a:lnTo>
                  <a:pt x="624297" y="3238500"/>
                </a:lnTo>
                <a:lnTo>
                  <a:pt x="658448" y="3263900"/>
                </a:lnTo>
                <a:lnTo>
                  <a:pt x="693319" y="3289300"/>
                </a:lnTo>
                <a:lnTo>
                  <a:pt x="728895" y="3327400"/>
                </a:lnTo>
                <a:lnTo>
                  <a:pt x="765159" y="3352800"/>
                </a:lnTo>
                <a:lnTo>
                  <a:pt x="802096" y="3378200"/>
                </a:lnTo>
                <a:lnTo>
                  <a:pt x="839693" y="3403600"/>
                </a:lnTo>
                <a:lnTo>
                  <a:pt x="877932" y="3429000"/>
                </a:lnTo>
                <a:lnTo>
                  <a:pt x="916799" y="3454400"/>
                </a:lnTo>
                <a:lnTo>
                  <a:pt x="956279" y="3467100"/>
                </a:lnTo>
                <a:lnTo>
                  <a:pt x="1037016" y="3517900"/>
                </a:lnTo>
                <a:lnTo>
                  <a:pt x="1078243" y="3530600"/>
                </a:lnTo>
                <a:lnTo>
                  <a:pt x="1120021" y="3556000"/>
                </a:lnTo>
                <a:lnTo>
                  <a:pt x="1205172" y="3581400"/>
                </a:lnTo>
                <a:lnTo>
                  <a:pt x="1248514" y="3606800"/>
                </a:lnTo>
                <a:lnTo>
                  <a:pt x="1426638" y="3657600"/>
                </a:lnTo>
                <a:lnTo>
                  <a:pt x="2275510" y="3657600"/>
                </a:lnTo>
                <a:lnTo>
                  <a:pt x="2453634" y="3606800"/>
                </a:lnTo>
                <a:lnTo>
                  <a:pt x="2496976" y="3581400"/>
                </a:lnTo>
                <a:lnTo>
                  <a:pt x="2582127" y="3556000"/>
                </a:lnTo>
                <a:lnTo>
                  <a:pt x="2623905" y="3530600"/>
                </a:lnTo>
                <a:lnTo>
                  <a:pt x="2665132" y="3517900"/>
                </a:lnTo>
                <a:lnTo>
                  <a:pt x="2745869" y="3467100"/>
                </a:lnTo>
                <a:lnTo>
                  <a:pt x="2785349" y="3454400"/>
                </a:lnTo>
                <a:lnTo>
                  <a:pt x="2824216" y="3429000"/>
                </a:lnTo>
                <a:lnTo>
                  <a:pt x="2862456" y="3403600"/>
                </a:lnTo>
                <a:lnTo>
                  <a:pt x="2900052" y="3378200"/>
                </a:lnTo>
                <a:lnTo>
                  <a:pt x="2936989" y="3352800"/>
                </a:lnTo>
                <a:lnTo>
                  <a:pt x="2973254" y="3327400"/>
                </a:lnTo>
                <a:lnTo>
                  <a:pt x="3008829" y="3289300"/>
                </a:lnTo>
                <a:lnTo>
                  <a:pt x="3043700" y="3263900"/>
                </a:lnTo>
                <a:lnTo>
                  <a:pt x="3077851" y="3238500"/>
                </a:lnTo>
                <a:lnTo>
                  <a:pt x="3111268" y="3213100"/>
                </a:lnTo>
                <a:lnTo>
                  <a:pt x="3143936" y="3175000"/>
                </a:lnTo>
                <a:lnTo>
                  <a:pt x="3175838" y="3149600"/>
                </a:lnTo>
                <a:lnTo>
                  <a:pt x="3206959" y="3111500"/>
                </a:lnTo>
                <a:lnTo>
                  <a:pt x="3237285" y="3073400"/>
                </a:lnTo>
                <a:lnTo>
                  <a:pt x="3266801" y="3048000"/>
                </a:lnTo>
                <a:lnTo>
                  <a:pt x="3295490" y="3009900"/>
                </a:lnTo>
                <a:lnTo>
                  <a:pt x="3323338" y="2971800"/>
                </a:lnTo>
                <a:lnTo>
                  <a:pt x="3350329" y="2933700"/>
                </a:lnTo>
                <a:lnTo>
                  <a:pt x="3376448" y="2895600"/>
                </a:lnTo>
                <a:lnTo>
                  <a:pt x="3401681" y="2857500"/>
                </a:lnTo>
                <a:lnTo>
                  <a:pt x="3426011" y="2819400"/>
                </a:lnTo>
                <a:lnTo>
                  <a:pt x="3449424" y="2781300"/>
                </a:lnTo>
                <a:lnTo>
                  <a:pt x="3471904" y="2743200"/>
                </a:lnTo>
                <a:lnTo>
                  <a:pt x="3493435" y="2705100"/>
                </a:lnTo>
                <a:lnTo>
                  <a:pt x="3514004" y="2667000"/>
                </a:lnTo>
                <a:lnTo>
                  <a:pt x="3533594" y="2628900"/>
                </a:lnTo>
                <a:lnTo>
                  <a:pt x="3552191" y="2578100"/>
                </a:lnTo>
                <a:lnTo>
                  <a:pt x="3569778" y="2540000"/>
                </a:lnTo>
                <a:lnTo>
                  <a:pt x="3586341" y="2501900"/>
                </a:lnTo>
                <a:lnTo>
                  <a:pt x="3601865" y="2451100"/>
                </a:lnTo>
                <a:lnTo>
                  <a:pt x="3616334" y="2413000"/>
                </a:lnTo>
                <a:lnTo>
                  <a:pt x="3629733" y="2362200"/>
                </a:lnTo>
                <a:lnTo>
                  <a:pt x="3642047" y="2324100"/>
                </a:lnTo>
                <a:lnTo>
                  <a:pt x="3653261" y="2273300"/>
                </a:lnTo>
                <a:lnTo>
                  <a:pt x="3663358" y="2235200"/>
                </a:lnTo>
                <a:lnTo>
                  <a:pt x="3672325" y="2184400"/>
                </a:lnTo>
                <a:lnTo>
                  <a:pt x="3680146" y="2133600"/>
                </a:lnTo>
                <a:lnTo>
                  <a:pt x="3686806" y="2095500"/>
                </a:lnTo>
                <a:lnTo>
                  <a:pt x="3692288" y="2044700"/>
                </a:lnTo>
                <a:lnTo>
                  <a:pt x="3696579" y="1993900"/>
                </a:lnTo>
                <a:lnTo>
                  <a:pt x="3699663" y="1943100"/>
                </a:lnTo>
                <a:lnTo>
                  <a:pt x="3701525" y="1905000"/>
                </a:lnTo>
                <a:lnTo>
                  <a:pt x="3702149" y="1854200"/>
                </a:lnTo>
                <a:lnTo>
                  <a:pt x="3701525" y="1803400"/>
                </a:lnTo>
                <a:lnTo>
                  <a:pt x="3699663" y="1752600"/>
                </a:lnTo>
                <a:lnTo>
                  <a:pt x="3696579" y="1701800"/>
                </a:lnTo>
                <a:lnTo>
                  <a:pt x="3692288" y="1663700"/>
                </a:lnTo>
                <a:lnTo>
                  <a:pt x="3686806" y="1612900"/>
                </a:lnTo>
                <a:lnTo>
                  <a:pt x="3680146" y="1562100"/>
                </a:lnTo>
                <a:lnTo>
                  <a:pt x="3672325" y="1524000"/>
                </a:lnTo>
                <a:lnTo>
                  <a:pt x="3663358" y="1473200"/>
                </a:lnTo>
                <a:lnTo>
                  <a:pt x="3653261" y="1422400"/>
                </a:lnTo>
                <a:lnTo>
                  <a:pt x="3642047" y="1384300"/>
                </a:lnTo>
                <a:lnTo>
                  <a:pt x="3629733" y="1333500"/>
                </a:lnTo>
                <a:lnTo>
                  <a:pt x="3616334" y="1295400"/>
                </a:lnTo>
                <a:lnTo>
                  <a:pt x="3601865" y="1244600"/>
                </a:lnTo>
                <a:lnTo>
                  <a:pt x="3586341" y="1206500"/>
                </a:lnTo>
                <a:lnTo>
                  <a:pt x="3569778" y="1168400"/>
                </a:lnTo>
                <a:lnTo>
                  <a:pt x="3552191" y="1117600"/>
                </a:lnTo>
                <a:lnTo>
                  <a:pt x="3533594" y="1079500"/>
                </a:lnTo>
                <a:lnTo>
                  <a:pt x="3514004" y="1041400"/>
                </a:lnTo>
                <a:lnTo>
                  <a:pt x="3493435" y="990600"/>
                </a:lnTo>
                <a:lnTo>
                  <a:pt x="3471904" y="952500"/>
                </a:lnTo>
                <a:lnTo>
                  <a:pt x="3449424" y="914400"/>
                </a:lnTo>
                <a:lnTo>
                  <a:pt x="3426011" y="876300"/>
                </a:lnTo>
                <a:lnTo>
                  <a:pt x="3401681" y="838200"/>
                </a:lnTo>
                <a:lnTo>
                  <a:pt x="3376448" y="800100"/>
                </a:lnTo>
                <a:lnTo>
                  <a:pt x="3350329" y="762000"/>
                </a:lnTo>
                <a:lnTo>
                  <a:pt x="3323338" y="723900"/>
                </a:lnTo>
                <a:lnTo>
                  <a:pt x="3295490" y="698500"/>
                </a:lnTo>
                <a:lnTo>
                  <a:pt x="3266801" y="660400"/>
                </a:lnTo>
                <a:lnTo>
                  <a:pt x="3237285" y="622300"/>
                </a:lnTo>
                <a:lnTo>
                  <a:pt x="3206959" y="596900"/>
                </a:lnTo>
                <a:lnTo>
                  <a:pt x="3175838" y="558800"/>
                </a:lnTo>
                <a:lnTo>
                  <a:pt x="3143936" y="520700"/>
                </a:lnTo>
                <a:lnTo>
                  <a:pt x="3111268" y="495300"/>
                </a:lnTo>
                <a:lnTo>
                  <a:pt x="3077851" y="469900"/>
                </a:lnTo>
                <a:lnTo>
                  <a:pt x="3043700" y="431800"/>
                </a:lnTo>
                <a:lnTo>
                  <a:pt x="3008829" y="406400"/>
                </a:lnTo>
                <a:lnTo>
                  <a:pt x="2973254" y="381000"/>
                </a:lnTo>
                <a:lnTo>
                  <a:pt x="2936989" y="355600"/>
                </a:lnTo>
                <a:lnTo>
                  <a:pt x="2900052" y="330200"/>
                </a:lnTo>
                <a:lnTo>
                  <a:pt x="2862456" y="304800"/>
                </a:lnTo>
                <a:lnTo>
                  <a:pt x="2824216" y="279400"/>
                </a:lnTo>
                <a:lnTo>
                  <a:pt x="2785349" y="254000"/>
                </a:lnTo>
                <a:lnTo>
                  <a:pt x="2705791" y="203200"/>
                </a:lnTo>
                <a:lnTo>
                  <a:pt x="2665132" y="190500"/>
                </a:lnTo>
                <a:lnTo>
                  <a:pt x="2623905" y="165100"/>
                </a:lnTo>
                <a:lnTo>
                  <a:pt x="2582127" y="152400"/>
                </a:lnTo>
                <a:lnTo>
                  <a:pt x="2539812" y="127000"/>
                </a:lnTo>
                <a:lnTo>
                  <a:pt x="2275510" y="50800"/>
                </a:lnTo>
                <a:lnTo>
                  <a:pt x="2183808" y="25400"/>
                </a:lnTo>
                <a:close/>
              </a:path>
              <a:path w="3702684" h="3695700">
                <a:moveTo>
                  <a:pt x="2090509" y="12700"/>
                </a:moveTo>
                <a:lnTo>
                  <a:pt x="1611639" y="12700"/>
                </a:lnTo>
                <a:lnTo>
                  <a:pt x="1564797" y="25400"/>
                </a:lnTo>
                <a:lnTo>
                  <a:pt x="2137351" y="25400"/>
                </a:lnTo>
                <a:lnTo>
                  <a:pt x="2090509" y="12700"/>
                </a:lnTo>
                <a:close/>
              </a:path>
              <a:path w="3702684" h="3695700">
                <a:moveTo>
                  <a:pt x="1995735" y="0"/>
                </a:moveTo>
                <a:lnTo>
                  <a:pt x="1706413" y="0"/>
                </a:lnTo>
                <a:lnTo>
                  <a:pt x="1658849" y="12700"/>
                </a:lnTo>
                <a:lnTo>
                  <a:pt x="2043299" y="12700"/>
                </a:lnTo>
                <a:lnTo>
                  <a:pt x="1995735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92" dirty="0">
              <a:solidFill>
                <a:prstClr val="black"/>
              </a:solidFill>
              <a:latin typeface="Segoe UI" panose="020B0502040204020203" pitchFamily="34" charset="0"/>
            </a:endParaRPr>
          </a:p>
        </p:txBody>
      </p:sp>
      <p:sp>
        <p:nvSpPr>
          <p:cNvPr id="6" name="object 2">
            <a:extLst>
              <a:ext uri="{FF2B5EF4-FFF2-40B4-BE49-F238E27FC236}">
                <a16:creationId xmlns:a16="http://schemas.microsoft.com/office/drawing/2014/main" id="{74F6CF05-FC38-431A-822D-D9874075012B}"/>
              </a:ext>
            </a:extLst>
          </p:cNvPr>
          <p:cNvSpPr/>
          <p:nvPr userDrawn="1"/>
        </p:nvSpPr>
        <p:spPr>
          <a:xfrm>
            <a:off x="3582944" y="2068415"/>
            <a:ext cx="2245312" cy="2241076"/>
          </a:xfrm>
          <a:custGeom>
            <a:avLst/>
            <a:gdLst/>
            <a:ahLst/>
            <a:cxnLst/>
            <a:rect l="l" t="t" r="r" b="b"/>
            <a:pathLst>
              <a:path w="3702684" h="3695700">
                <a:moveTo>
                  <a:pt x="2090509" y="3683000"/>
                </a:moveTo>
                <a:lnTo>
                  <a:pt x="1611639" y="3683000"/>
                </a:lnTo>
                <a:lnTo>
                  <a:pt x="1658849" y="3695700"/>
                </a:lnTo>
                <a:lnTo>
                  <a:pt x="2043299" y="3695700"/>
                </a:lnTo>
                <a:lnTo>
                  <a:pt x="2090509" y="3683000"/>
                </a:lnTo>
                <a:close/>
              </a:path>
              <a:path w="3702684" h="3695700">
                <a:moveTo>
                  <a:pt x="2229866" y="3657600"/>
                </a:moveTo>
                <a:lnTo>
                  <a:pt x="1472282" y="3657600"/>
                </a:lnTo>
                <a:lnTo>
                  <a:pt x="1564797" y="3683000"/>
                </a:lnTo>
                <a:lnTo>
                  <a:pt x="2137351" y="3683000"/>
                </a:lnTo>
                <a:lnTo>
                  <a:pt x="2229866" y="3657600"/>
                </a:lnTo>
                <a:close/>
              </a:path>
              <a:path w="3702684" h="3695700">
                <a:moveTo>
                  <a:pt x="2183808" y="25400"/>
                </a:moveTo>
                <a:lnTo>
                  <a:pt x="1518340" y="25400"/>
                </a:lnTo>
                <a:lnTo>
                  <a:pt x="1426638" y="50800"/>
                </a:lnTo>
                <a:lnTo>
                  <a:pt x="1162336" y="127000"/>
                </a:lnTo>
                <a:lnTo>
                  <a:pt x="1120021" y="152400"/>
                </a:lnTo>
                <a:lnTo>
                  <a:pt x="1078243" y="165100"/>
                </a:lnTo>
                <a:lnTo>
                  <a:pt x="1037016" y="190500"/>
                </a:lnTo>
                <a:lnTo>
                  <a:pt x="996357" y="203200"/>
                </a:lnTo>
                <a:lnTo>
                  <a:pt x="916799" y="254000"/>
                </a:lnTo>
                <a:lnTo>
                  <a:pt x="877932" y="279400"/>
                </a:lnTo>
                <a:lnTo>
                  <a:pt x="839693" y="304800"/>
                </a:lnTo>
                <a:lnTo>
                  <a:pt x="802096" y="330200"/>
                </a:lnTo>
                <a:lnTo>
                  <a:pt x="765159" y="355600"/>
                </a:lnTo>
                <a:lnTo>
                  <a:pt x="728895" y="381000"/>
                </a:lnTo>
                <a:lnTo>
                  <a:pt x="693319" y="406400"/>
                </a:lnTo>
                <a:lnTo>
                  <a:pt x="658448" y="431800"/>
                </a:lnTo>
                <a:lnTo>
                  <a:pt x="624297" y="469900"/>
                </a:lnTo>
                <a:lnTo>
                  <a:pt x="590880" y="495300"/>
                </a:lnTo>
                <a:lnTo>
                  <a:pt x="558213" y="520700"/>
                </a:lnTo>
                <a:lnTo>
                  <a:pt x="526311" y="558800"/>
                </a:lnTo>
                <a:lnTo>
                  <a:pt x="495189" y="596900"/>
                </a:lnTo>
                <a:lnTo>
                  <a:pt x="464863" y="622300"/>
                </a:lnTo>
                <a:lnTo>
                  <a:pt x="435347" y="660400"/>
                </a:lnTo>
                <a:lnTo>
                  <a:pt x="406658" y="698500"/>
                </a:lnTo>
                <a:lnTo>
                  <a:pt x="378810" y="723900"/>
                </a:lnTo>
                <a:lnTo>
                  <a:pt x="351819" y="762000"/>
                </a:lnTo>
                <a:lnTo>
                  <a:pt x="325700" y="800100"/>
                </a:lnTo>
                <a:lnTo>
                  <a:pt x="300467" y="838200"/>
                </a:lnTo>
                <a:lnTo>
                  <a:pt x="276137" y="876300"/>
                </a:lnTo>
                <a:lnTo>
                  <a:pt x="252724" y="914400"/>
                </a:lnTo>
                <a:lnTo>
                  <a:pt x="230245" y="952500"/>
                </a:lnTo>
                <a:lnTo>
                  <a:pt x="208713" y="990600"/>
                </a:lnTo>
                <a:lnTo>
                  <a:pt x="188144" y="1041400"/>
                </a:lnTo>
                <a:lnTo>
                  <a:pt x="168554" y="1079500"/>
                </a:lnTo>
                <a:lnTo>
                  <a:pt x="149958" y="1117600"/>
                </a:lnTo>
                <a:lnTo>
                  <a:pt x="132370" y="1168400"/>
                </a:lnTo>
                <a:lnTo>
                  <a:pt x="115807" y="1206500"/>
                </a:lnTo>
                <a:lnTo>
                  <a:pt x="100283" y="1244600"/>
                </a:lnTo>
                <a:lnTo>
                  <a:pt x="85814" y="1295400"/>
                </a:lnTo>
                <a:lnTo>
                  <a:pt x="72415" y="1333500"/>
                </a:lnTo>
                <a:lnTo>
                  <a:pt x="60101" y="1384300"/>
                </a:lnTo>
                <a:lnTo>
                  <a:pt x="48887" y="1422400"/>
                </a:lnTo>
                <a:lnTo>
                  <a:pt x="38790" y="1473200"/>
                </a:lnTo>
                <a:lnTo>
                  <a:pt x="29823" y="1524000"/>
                </a:lnTo>
                <a:lnTo>
                  <a:pt x="22002" y="1562100"/>
                </a:lnTo>
                <a:lnTo>
                  <a:pt x="15342" y="1612900"/>
                </a:lnTo>
                <a:lnTo>
                  <a:pt x="9860" y="1663700"/>
                </a:lnTo>
                <a:lnTo>
                  <a:pt x="5569" y="1701800"/>
                </a:lnTo>
                <a:lnTo>
                  <a:pt x="2485" y="1752600"/>
                </a:lnTo>
                <a:lnTo>
                  <a:pt x="623" y="1803400"/>
                </a:lnTo>
                <a:lnTo>
                  <a:pt x="0" y="1854200"/>
                </a:lnTo>
                <a:lnTo>
                  <a:pt x="623" y="1905000"/>
                </a:lnTo>
                <a:lnTo>
                  <a:pt x="2485" y="1943100"/>
                </a:lnTo>
                <a:lnTo>
                  <a:pt x="5569" y="1993900"/>
                </a:lnTo>
                <a:lnTo>
                  <a:pt x="9860" y="2044700"/>
                </a:lnTo>
                <a:lnTo>
                  <a:pt x="15342" y="2095500"/>
                </a:lnTo>
                <a:lnTo>
                  <a:pt x="22002" y="2133600"/>
                </a:lnTo>
                <a:lnTo>
                  <a:pt x="29823" y="2184400"/>
                </a:lnTo>
                <a:lnTo>
                  <a:pt x="38790" y="2235200"/>
                </a:lnTo>
                <a:lnTo>
                  <a:pt x="48887" y="2273300"/>
                </a:lnTo>
                <a:lnTo>
                  <a:pt x="60101" y="2324100"/>
                </a:lnTo>
                <a:lnTo>
                  <a:pt x="72415" y="2362200"/>
                </a:lnTo>
                <a:lnTo>
                  <a:pt x="85814" y="2413000"/>
                </a:lnTo>
                <a:lnTo>
                  <a:pt x="100283" y="2451100"/>
                </a:lnTo>
                <a:lnTo>
                  <a:pt x="115807" y="2501900"/>
                </a:lnTo>
                <a:lnTo>
                  <a:pt x="132370" y="2540000"/>
                </a:lnTo>
                <a:lnTo>
                  <a:pt x="149958" y="2578100"/>
                </a:lnTo>
                <a:lnTo>
                  <a:pt x="168554" y="2628900"/>
                </a:lnTo>
                <a:lnTo>
                  <a:pt x="188144" y="2667000"/>
                </a:lnTo>
                <a:lnTo>
                  <a:pt x="208713" y="2705100"/>
                </a:lnTo>
                <a:lnTo>
                  <a:pt x="230245" y="2743200"/>
                </a:lnTo>
                <a:lnTo>
                  <a:pt x="252724" y="2781300"/>
                </a:lnTo>
                <a:lnTo>
                  <a:pt x="276137" y="2819400"/>
                </a:lnTo>
                <a:lnTo>
                  <a:pt x="300467" y="2857500"/>
                </a:lnTo>
                <a:lnTo>
                  <a:pt x="325700" y="2895600"/>
                </a:lnTo>
                <a:lnTo>
                  <a:pt x="351819" y="2933700"/>
                </a:lnTo>
                <a:lnTo>
                  <a:pt x="378810" y="2971800"/>
                </a:lnTo>
                <a:lnTo>
                  <a:pt x="406658" y="3009900"/>
                </a:lnTo>
                <a:lnTo>
                  <a:pt x="435347" y="3048000"/>
                </a:lnTo>
                <a:lnTo>
                  <a:pt x="464863" y="3073400"/>
                </a:lnTo>
                <a:lnTo>
                  <a:pt x="495189" y="3111500"/>
                </a:lnTo>
                <a:lnTo>
                  <a:pt x="526311" y="3149600"/>
                </a:lnTo>
                <a:lnTo>
                  <a:pt x="558213" y="3175000"/>
                </a:lnTo>
                <a:lnTo>
                  <a:pt x="590880" y="3213100"/>
                </a:lnTo>
                <a:lnTo>
                  <a:pt x="624297" y="3238500"/>
                </a:lnTo>
                <a:lnTo>
                  <a:pt x="658448" y="3263900"/>
                </a:lnTo>
                <a:lnTo>
                  <a:pt x="693319" y="3289300"/>
                </a:lnTo>
                <a:lnTo>
                  <a:pt x="728895" y="3327400"/>
                </a:lnTo>
                <a:lnTo>
                  <a:pt x="765159" y="3352800"/>
                </a:lnTo>
                <a:lnTo>
                  <a:pt x="802096" y="3378200"/>
                </a:lnTo>
                <a:lnTo>
                  <a:pt x="839693" y="3403600"/>
                </a:lnTo>
                <a:lnTo>
                  <a:pt x="877932" y="3429000"/>
                </a:lnTo>
                <a:lnTo>
                  <a:pt x="916799" y="3454400"/>
                </a:lnTo>
                <a:lnTo>
                  <a:pt x="956279" y="3467100"/>
                </a:lnTo>
                <a:lnTo>
                  <a:pt x="1037016" y="3517900"/>
                </a:lnTo>
                <a:lnTo>
                  <a:pt x="1078243" y="3530600"/>
                </a:lnTo>
                <a:lnTo>
                  <a:pt x="1120021" y="3556000"/>
                </a:lnTo>
                <a:lnTo>
                  <a:pt x="1205172" y="3581400"/>
                </a:lnTo>
                <a:lnTo>
                  <a:pt x="1248514" y="3606800"/>
                </a:lnTo>
                <a:lnTo>
                  <a:pt x="1426638" y="3657600"/>
                </a:lnTo>
                <a:lnTo>
                  <a:pt x="2275510" y="3657600"/>
                </a:lnTo>
                <a:lnTo>
                  <a:pt x="2453634" y="3606800"/>
                </a:lnTo>
                <a:lnTo>
                  <a:pt x="2496976" y="3581400"/>
                </a:lnTo>
                <a:lnTo>
                  <a:pt x="2582127" y="3556000"/>
                </a:lnTo>
                <a:lnTo>
                  <a:pt x="2623905" y="3530600"/>
                </a:lnTo>
                <a:lnTo>
                  <a:pt x="2665132" y="3517900"/>
                </a:lnTo>
                <a:lnTo>
                  <a:pt x="2745869" y="3467100"/>
                </a:lnTo>
                <a:lnTo>
                  <a:pt x="2785349" y="3454400"/>
                </a:lnTo>
                <a:lnTo>
                  <a:pt x="2824216" y="3429000"/>
                </a:lnTo>
                <a:lnTo>
                  <a:pt x="2862456" y="3403600"/>
                </a:lnTo>
                <a:lnTo>
                  <a:pt x="2900052" y="3378200"/>
                </a:lnTo>
                <a:lnTo>
                  <a:pt x="2936989" y="3352800"/>
                </a:lnTo>
                <a:lnTo>
                  <a:pt x="2973254" y="3327400"/>
                </a:lnTo>
                <a:lnTo>
                  <a:pt x="3008829" y="3289300"/>
                </a:lnTo>
                <a:lnTo>
                  <a:pt x="3043700" y="3263900"/>
                </a:lnTo>
                <a:lnTo>
                  <a:pt x="3077851" y="3238500"/>
                </a:lnTo>
                <a:lnTo>
                  <a:pt x="3111268" y="3213100"/>
                </a:lnTo>
                <a:lnTo>
                  <a:pt x="3143936" y="3175000"/>
                </a:lnTo>
                <a:lnTo>
                  <a:pt x="3175838" y="3149600"/>
                </a:lnTo>
                <a:lnTo>
                  <a:pt x="3206959" y="3111500"/>
                </a:lnTo>
                <a:lnTo>
                  <a:pt x="3237285" y="3073400"/>
                </a:lnTo>
                <a:lnTo>
                  <a:pt x="3266801" y="3048000"/>
                </a:lnTo>
                <a:lnTo>
                  <a:pt x="3295490" y="3009900"/>
                </a:lnTo>
                <a:lnTo>
                  <a:pt x="3323338" y="2971800"/>
                </a:lnTo>
                <a:lnTo>
                  <a:pt x="3350329" y="2933700"/>
                </a:lnTo>
                <a:lnTo>
                  <a:pt x="3376448" y="2895600"/>
                </a:lnTo>
                <a:lnTo>
                  <a:pt x="3401681" y="2857500"/>
                </a:lnTo>
                <a:lnTo>
                  <a:pt x="3426011" y="2819400"/>
                </a:lnTo>
                <a:lnTo>
                  <a:pt x="3449424" y="2781300"/>
                </a:lnTo>
                <a:lnTo>
                  <a:pt x="3471904" y="2743200"/>
                </a:lnTo>
                <a:lnTo>
                  <a:pt x="3493435" y="2705100"/>
                </a:lnTo>
                <a:lnTo>
                  <a:pt x="3514004" y="2667000"/>
                </a:lnTo>
                <a:lnTo>
                  <a:pt x="3533594" y="2628900"/>
                </a:lnTo>
                <a:lnTo>
                  <a:pt x="3552191" y="2578100"/>
                </a:lnTo>
                <a:lnTo>
                  <a:pt x="3569778" y="2540000"/>
                </a:lnTo>
                <a:lnTo>
                  <a:pt x="3586341" y="2501900"/>
                </a:lnTo>
                <a:lnTo>
                  <a:pt x="3601865" y="2451100"/>
                </a:lnTo>
                <a:lnTo>
                  <a:pt x="3616334" y="2413000"/>
                </a:lnTo>
                <a:lnTo>
                  <a:pt x="3629733" y="2362200"/>
                </a:lnTo>
                <a:lnTo>
                  <a:pt x="3642047" y="2324100"/>
                </a:lnTo>
                <a:lnTo>
                  <a:pt x="3653261" y="2273300"/>
                </a:lnTo>
                <a:lnTo>
                  <a:pt x="3663358" y="2235200"/>
                </a:lnTo>
                <a:lnTo>
                  <a:pt x="3672325" y="2184400"/>
                </a:lnTo>
                <a:lnTo>
                  <a:pt x="3680146" y="2133600"/>
                </a:lnTo>
                <a:lnTo>
                  <a:pt x="3686806" y="2095500"/>
                </a:lnTo>
                <a:lnTo>
                  <a:pt x="3692288" y="2044700"/>
                </a:lnTo>
                <a:lnTo>
                  <a:pt x="3696579" y="1993900"/>
                </a:lnTo>
                <a:lnTo>
                  <a:pt x="3699663" y="1943100"/>
                </a:lnTo>
                <a:lnTo>
                  <a:pt x="3701525" y="1905000"/>
                </a:lnTo>
                <a:lnTo>
                  <a:pt x="3702149" y="1854200"/>
                </a:lnTo>
                <a:lnTo>
                  <a:pt x="3701525" y="1803400"/>
                </a:lnTo>
                <a:lnTo>
                  <a:pt x="3699663" y="1752600"/>
                </a:lnTo>
                <a:lnTo>
                  <a:pt x="3696579" y="1701800"/>
                </a:lnTo>
                <a:lnTo>
                  <a:pt x="3692288" y="1663700"/>
                </a:lnTo>
                <a:lnTo>
                  <a:pt x="3686806" y="1612900"/>
                </a:lnTo>
                <a:lnTo>
                  <a:pt x="3680146" y="1562100"/>
                </a:lnTo>
                <a:lnTo>
                  <a:pt x="3672325" y="1524000"/>
                </a:lnTo>
                <a:lnTo>
                  <a:pt x="3663358" y="1473200"/>
                </a:lnTo>
                <a:lnTo>
                  <a:pt x="3653261" y="1422400"/>
                </a:lnTo>
                <a:lnTo>
                  <a:pt x="3642047" y="1384300"/>
                </a:lnTo>
                <a:lnTo>
                  <a:pt x="3629733" y="1333500"/>
                </a:lnTo>
                <a:lnTo>
                  <a:pt x="3616334" y="1295400"/>
                </a:lnTo>
                <a:lnTo>
                  <a:pt x="3601865" y="1244600"/>
                </a:lnTo>
                <a:lnTo>
                  <a:pt x="3586341" y="1206500"/>
                </a:lnTo>
                <a:lnTo>
                  <a:pt x="3569778" y="1168400"/>
                </a:lnTo>
                <a:lnTo>
                  <a:pt x="3552191" y="1117600"/>
                </a:lnTo>
                <a:lnTo>
                  <a:pt x="3533594" y="1079500"/>
                </a:lnTo>
                <a:lnTo>
                  <a:pt x="3514004" y="1041400"/>
                </a:lnTo>
                <a:lnTo>
                  <a:pt x="3493435" y="990600"/>
                </a:lnTo>
                <a:lnTo>
                  <a:pt x="3471904" y="952500"/>
                </a:lnTo>
                <a:lnTo>
                  <a:pt x="3449424" y="914400"/>
                </a:lnTo>
                <a:lnTo>
                  <a:pt x="3426011" y="876300"/>
                </a:lnTo>
                <a:lnTo>
                  <a:pt x="3401681" y="838200"/>
                </a:lnTo>
                <a:lnTo>
                  <a:pt x="3376448" y="800100"/>
                </a:lnTo>
                <a:lnTo>
                  <a:pt x="3350329" y="762000"/>
                </a:lnTo>
                <a:lnTo>
                  <a:pt x="3323338" y="723900"/>
                </a:lnTo>
                <a:lnTo>
                  <a:pt x="3295490" y="698500"/>
                </a:lnTo>
                <a:lnTo>
                  <a:pt x="3266801" y="660400"/>
                </a:lnTo>
                <a:lnTo>
                  <a:pt x="3237285" y="622300"/>
                </a:lnTo>
                <a:lnTo>
                  <a:pt x="3206959" y="596900"/>
                </a:lnTo>
                <a:lnTo>
                  <a:pt x="3175838" y="558800"/>
                </a:lnTo>
                <a:lnTo>
                  <a:pt x="3143936" y="520700"/>
                </a:lnTo>
                <a:lnTo>
                  <a:pt x="3111268" y="495300"/>
                </a:lnTo>
                <a:lnTo>
                  <a:pt x="3077851" y="469900"/>
                </a:lnTo>
                <a:lnTo>
                  <a:pt x="3043700" y="431800"/>
                </a:lnTo>
                <a:lnTo>
                  <a:pt x="3008829" y="406400"/>
                </a:lnTo>
                <a:lnTo>
                  <a:pt x="2973254" y="381000"/>
                </a:lnTo>
                <a:lnTo>
                  <a:pt x="2936989" y="355600"/>
                </a:lnTo>
                <a:lnTo>
                  <a:pt x="2900052" y="330200"/>
                </a:lnTo>
                <a:lnTo>
                  <a:pt x="2862456" y="304800"/>
                </a:lnTo>
                <a:lnTo>
                  <a:pt x="2824216" y="279400"/>
                </a:lnTo>
                <a:lnTo>
                  <a:pt x="2785349" y="254000"/>
                </a:lnTo>
                <a:lnTo>
                  <a:pt x="2705791" y="203200"/>
                </a:lnTo>
                <a:lnTo>
                  <a:pt x="2665132" y="190500"/>
                </a:lnTo>
                <a:lnTo>
                  <a:pt x="2623905" y="165100"/>
                </a:lnTo>
                <a:lnTo>
                  <a:pt x="2582127" y="152400"/>
                </a:lnTo>
                <a:lnTo>
                  <a:pt x="2539812" y="127000"/>
                </a:lnTo>
                <a:lnTo>
                  <a:pt x="2275510" y="50800"/>
                </a:lnTo>
                <a:lnTo>
                  <a:pt x="2183808" y="25400"/>
                </a:lnTo>
                <a:close/>
              </a:path>
              <a:path w="3702684" h="3695700">
                <a:moveTo>
                  <a:pt x="2090509" y="12700"/>
                </a:moveTo>
                <a:lnTo>
                  <a:pt x="1611639" y="12700"/>
                </a:lnTo>
                <a:lnTo>
                  <a:pt x="1564797" y="25400"/>
                </a:lnTo>
                <a:lnTo>
                  <a:pt x="2137351" y="25400"/>
                </a:lnTo>
                <a:lnTo>
                  <a:pt x="2090509" y="12700"/>
                </a:lnTo>
                <a:close/>
              </a:path>
              <a:path w="3702684" h="3695700">
                <a:moveTo>
                  <a:pt x="1995735" y="0"/>
                </a:moveTo>
                <a:lnTo>
                  <a:pt x="1706413" y="0"/>
                </a:lnTo>
                <a:lnTo>
                  <a:pt x="1658849" y="12700"/>
                </a:lnTo>
                <a:lnTo>
                  <a:pt x="2043299" y="12700"/>
                </a:lnTo>
                <a:lnTo>
                  <a:pt x="1995735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92" dirty="0">
              <a:solidFill>
                <a:prstClr val="black"/>
              </a:solidFill>
              <a:latin typeface="Segoe UI" panose="020B0502040204020203" pitchFamily="34" charset="0"/>
            </a:endParaRP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1C1D5AF8-99D8-4AE2-A82F-3A41EC57E218}"/>
              </a:ext>
            </a:extLst>
          </p:cNvPr>
          <p:cNvSpPr/>
          <p:nvPr userDrawn="1"/>
        </p:nvSpPr>
        <p:spPr>
          <a:xfrm>
            <a:off x="9145193" y="2068415"/>
            <a:ext cx="2245312" cy="2241076"/>
          </a:xfrm>
          <a:custGeom>
            <a:avLst/>
            <a:gdLst/>
            <a:ahLst/>
            <a:cxnLst/>
            <a:rect l="l" t="t" r="r" b="b"/>
            <a:pathLst>
              <a:path w="3702684" h="3695700">
                <a:moveTo>
                  <a:pt x="2090509" y="3683000"/>
                </a:moveTo>
                <a:lnTo>
                  <a:pt x="1611639" y="3683000"/>
                </a:lnTo>
                <a:lnTo>
                  <a:pt x="1658849" y="3695700"/>
                </a:lnTo>
                <a:lnTo>
                  <a:pt x="2043299" y="3695700"/>
                </a:lnTo>
                <a:lnTo>
                  <a:pt x="2090509" y="3683000"/>
                </a:lnTo>
                <a:close/>
              </a:path>
              <a:path w="3702684" h="3695700">
                <a:moveTo>
                  <a:pt x="2229866" y="3657600"/>
                </a:moveTo>
                <a:lnTo>
                  <a:pt x="1472282" y="3657600"/>
                </a:lnTo>
                <a:lnTo>
                  <a:pt x="1564797" y="3683000"/>
                </a:lnTo>
                <a:lnTo>
                  <a:pt x="2137351" y="3683000"/>
                </a:lnTo>
                <a:lnTo>
                  <a:pt x="2229866" y="3657600"/>
                </a:lnTo>
                <a:close/>
              </a:path>
              <a:path w="3702684" h="3695700">
                <a:moveTo>
                  <a:pt x="2183808" y="25400"/>
                </a:moveTo>
                <a:lnTo>
                  <a:pt x="1518340" y="25400"/>
                </a:lnTo>
                <a:lnTo>
                  <a:pt x="1426638" y="50800"/>
                </a:lnTo>
                <a:lnTo>
                  <a:pt x="1162336" y="127000"/>
                </a:lnTo>
                <a:lnTo>
                  <a:pt x="1120021" y="152400"/>
                </a:lnTo>
                <a:lnTo>
                  <a:pt x="1078243" y="165100"/>
                </a:lnTo>
                <a:lnTo>
                  <a:pt x="1037016" y="190500"/>
                </a:lnTo>
                <a:lnTo>
                  <a:pt x="996357" y="203200"/>
                </a:lnTo>
                <a:lnTo>
                  <a:pt x="916799" y="254000"/>
                </a:lnTo>
                <a:lnTo>
                  <a:pt x="877932" y="279400"/>
                </a:lnTo>
                <a:lnTo>
                  <a:pt x="839693" y="304800"/>
                </a:lnTo>
                <a:lnTo>
                  <a:pt x="802096" y="330200"/>
                </a:lnTo>
                <a:lnTo>
                  <a:pt x="765159" y="355600"/>
                </a:lnTo>
                <a:lnTo>
                  <a:pt x="728895" y="381000"/>
                </a:lnTo>
                <a:lnTo>
                  <a:pt x="693319" y="406400"/>
                </a:lnTo>
                <a:lnTo>
                  <a:pt x="658448" y="431800"/>
                </a:lnTo>
                <a:lnTo>
                  <a:pt x="624297" y="469900"/>
                </a:lnTo>
                <a:lnTo>
                  <a:pt x="590880" y="495300"/>
                </a:lnTo>
                <a:lnTo>
                  <a:pt x="558213" y="520700"/>
                </a:lnTo>
                <a:lnTo>
                  <a:pt x="526311" y="558800"/>
                </a:lnTo>
                <a:lnTo>
                  <a:pt x="495189" y="596900"/>
                </a:lnTo>
                <a:lnTo>
                  <a:pt x="464863" y="622300"/>
                </a:lnTo>
                <a:lnTo>
                  <a:pt x="435347" y="660400"/>
                </a:lnTo>
                <a:lnTo>
                  <a:pt x="406658" y="698500"/>
                </a:lnTo>
                <a:lnTo>
                  <a:pt x="378810" y="723900"/>
                </a:lnTo>
                <a:lnTo>
                  <a:pt x="351819" y="762000"/>
                </a:lnTo>
                <a:lnTo>
                  <a:pt x="325700" y="800100"/>
                </a:lnTo>
                <a:lnTo>
                  <a:pt x="300467" y="838200"/>
                </a:lnTo>
                <a:lnTo>
                  <a:pt x="276137" y="876300"/>
                </a:lnTo>
                <a:lnTo>
                  <a:pt x="252724" y="914400"/>
                </a:lnTo>
                <a:lnTo>
                  <a:pt x="230245" y="952500"/>
                </a:lnTo>
                <a:lnTo>
                  <a:pt x="208713" y="990600"/>
                </a:lnTo>
                <a:lnTo>
                  <a:pt x="188144" y="1041400"/>
                </a:lnTo>
                <a:lnTo>
                  <a:pt x="168554" y="1079500"/>
                </a:lnTo>
                <a:lnTo>
                  <a:pt x="149958" y="1117600"/>
                </a:lnTo>
                <a:lnTo>
                  <a:pt x="132370" y="1168400"/>
                </a:lnTo>
                <a:lnTo>
                  <a:pt x="115807" y="1206500"/>
                </a:lnTo>
                <a:lnTo>
                  <a:pt x="100283" y="1244600"/>
                </a:lnTo>
                <a:lnTo>
                  <a:pt x="85814" y="1295400"/>
                </a:lnTo>
                <a:lnTo>
                  <a:pt x="72415" y="1333500"/>
                </a:lnTo>
                <a:lnTo>
                  <a:pt x="60101" y="1384300"/>
                </a:lnTo>
                <a:lnTo>
                  <a:pt x="48887" y="1422400"/>
                </a:lnTo>
                <a:lnTo>
                  <a:pt x="38790" y="1473200"/>
                </a:lnTo>
                <a:lnTo>
                  <a:pt x="29823" y="1524000"/>
                </a:lnTo>
                <a:lnTo>
                  <a:pt x="22002" y="1562100"/>
                </a:lnTo>
                <a:lnTo>
                  <a:pt x="15342" y="1612900"/>
                </a:lnTo>
                <a:lnTo>
                  <a:pt x="9860" y="1663700"/>
                </a:lnTo>
                <a:lnTo>
                  <a:pt x="5569" y="1701800"/>
                </a:lnTo>
                <a:lnTo>
                  <a:pt x="2485" y="1752600"/>
                </a:lnTo>
                <a:lnTo>
                  <a:pt x="623" y="1803400"/>
                </a:lnTo>
                <a:lnTo>
                  <a:pt x="0" y="1854200"/>
                </a:lnTo>
                <a:lnTo>
                  <a:pt x="623" y="1905000"/>
                </a:lnTo>
                <a:lnTo>
                  <a:pt x="2485" y="1943100"/>
                </a:lnTo>
                <a:lnTo>
                  <a:pt x="5569" y="1993900"/>
                </a:lnTo>
                <a:lnTo>
                  <a:pt x="9860" y="2044700"/>
                </a:lnTo>
                <a:lnTo>
                  <a:pt x="15342" y="2095500"/>
                </a:lnTo>
                <a:lnTo>
                  <a:pt x="22002" y="2133600"/>
                </a:lnTo>
                <a:lnTo>
                  <a:pt x="29823" y="2184400"/>
                </a:lnTo>
                <a:lnTo>
                  <a:pt x="38790" y="2235200"/>
                </a:lnTo>
                <a:lnTo>
                  <a:pt x="48887" y="2273300"/>
                </a:lnTo>
                <a:lnTo>
                  <a:pt x="60101" y="2324100"/>
                </a:lnTo>
                <a:lnTo>
                  <a:pt x="72415" y="2362200"/>
                </a:lnTo>
                <a:lnTo>
                  <a:pt x="85814" y="2413000"/>
                </a:lnTo>
                <a:lnTo>
                  <a:pt x="100283" y="2451100"/>
                </a:lnTo>
                <a:lnTo>
                  <a:pt x="115807" y="2501900"/>
                </a:lnTo>
                <a:lnTo>
                  <a:pt x="132370" y="2540000"/>
                </a:lnTo>
                <a:lnTo>
                  <a:pt x="149958" y="2578100"/>
                </a:lnTo>
                <a:lnTo>
                  <a:pt x="168554" y="2628900"/>
                </a:lnTo>
                <a:lnTo>
                  <a:pt x="188144" y="2667000"/>
                </a:lnTo>
                <a:lnTo>
                  <a:pt x="208713" y="2705100"/>
                </a:lnTo>
                <a:lnTo>
                  <a:pt x="230245" y="2743200"/>
                </a:lnTo>
                <a:lnTo>
                  <a:pt x="252724" y="2781300"/>
                </a:lnTo>
                <a:lnTo>
                  <a:pt x="276137" y="2819400"/>
                </a:lnTo>
                <a:lnTo>
                  <a:pt x="300467" y="2857500"/>
                </a:lnTo>
                <a:lnTo>
                  <a:pt x="325700" y="2895600"/>
                </a:lnTo>
                <a:lnTo>
                  <a:pt x="351819" y="2933700"/>
                </a:lnTo>
                <a:lnTo>
                  <a:pt x="378810" y="2971800"/>
                </a:lnTo>
                <a:lnTo>
                  <a:pt x="406658" y="3009900"/>
                </a:lnTo>
                <a:lnTo>
                  <a:pt x="435347" y="3048000"/>
                </a:lnTo>
                <a:lnTo>
                  <a:pt x="464863" y="3073400"/>
                </a:lnTo>
                <a:lnTo>
                  <a:pt x="495189" y="3111500"/>
                </a:lnTo>
                <a:lnTo>
                  <a:pt x="526311" y="3149600"/>
                </a:lnTo>
                <a:lnTo>
                  <a:pt x="558213" y="3175000"/>
                </a:lnTo>
                <a:lnTo>
                  <a:pt x="590880" y="3213100"/>
                </a:lnTo>
                <a:lnTo>
                  <a:pt x="624297" y="3238500"/>
                </a:lnTo>
                <a:lnTo>
                  <a:pt x="658448" y="3263900"/>
                </a:lnTo>
                <a:lnTo>
                  <a:pt x="693319" y="3289300"/>
                </a:lnTo>
                <a:lnTo>
                  <a:pt x="728895" y="3327400"/>
                </a:lnTo>
                <a:lnTo>
                  <a:pt x="765159" y="3352800"/>
                </a:lnTo>
                <a:lnTo>
                  <a:pt x="802096" y="3378200"/>
                </a:lnTo>
                <a:lnTo>
                  <a:pt x="839693" y="3403600"/>
                </a:lnTo>
                <a:lnTo>
                  <a:pt x="877932" y="3429000"/>
                </a:lnTo>
                <a:lnTo>
                  <a:pt x="916799" y="3454400"/>
                </a:lnTo>
                <a:lnTo>
                  <a:pt x="956279" y="3467100"/>
                </a:lnTo>
                <a:lnTo>
                  <a:pt x="1037016" y="3517900"/>
                </a:lnTo>
                <a:lnTo>
                  <a:pt x="1078243" y="3530600"/>
                </a:lnTo>
                <a:lnTo>
                  <a:pt x="1120021" y="3556000"/>
                </a:lnTo>
                <a:lnTo>
                  <a:pt x="1205172" y="3581400"/>
                </a:lnTo>
                <a:lnTo>
                  <a:pt x="1248514" y="3606800"/>
                </a:lnTo>
                <a:lnTo>
                  <a:pt x="1426638" y="3657600"/>
                </a:lnTo>
                <a:lnTo>
                  <a:pt x="2275510" y="3657600"/>
                </a:lnTo>
                <a:lnTo>
                  <a:pt x="2453634" y="3606800"/>
                </a:lnTo>
                <a:lnTo>
                  <a:pt x="2496976" y="3581400"/>
                </a:lnTo>
                <a:lnTo>
                  <a:pt x="2582127" y="3556000"/>
                </a:lnTo>
                <a:lnTo>
                  <a:pt x="2623905" y="3530600"/>
                </a:lnTo>
                <a:lnTo>
                  <a:pt x="2665132" y="3517900"/>
                </a:lnTo>
                <a:lnTo>
                  <a:pt x="2745869" y="3467100"/>
                </a:lnTo>
                <a:lnTo>
                  <a:pt x="2785349" y="3454400"/>
                </a:lnTo>
                <a:lnTo>
                  <a:pt x="2824216" y="3429000"/>
                </a:lnTo>
                <a:lnTo>
                  <a:pt x="2862456" y="3403600"/>
                </a:lnTo>
                <a:lnTo>
                  <a:pt x="2900052" y="3378200"/>
                </a:lnTo>
                <a:lnTo>
                  <a:pt x="2936989" y="3352800"/>
                </a:lnTo>
                <a:lnTo>
                  <a:pt x="2973254" y="3327400"/>
                </a:lnTo>
                <a:lnTo>
                  <a:pt x="3008829" y="3289300"/>
                </a:lnTo>
                <a:lnTo>
                  <a:pt x="3043700" y="3263900"/>
                </a:lnTo>
                <a:lnTo>
                  <a:pt x="3077851" y="3238500"/>
                </a:lnTo>
                <a:lnTo>
                  <a:pt x="3111268" y="3213100"/>
                </a:lnTo>
                <a:lnTo>
                  <a:pt x="3143936" y="3175000"/>
                </a:lnTo>
                <a:lnTo>
                  <a:pt x="3175838" y="3149600"/>
                </a:lnTo>
                <a:lnTo>
                  <a:pt x="3206959" y="3111500"/>
                </a:lnTo>
                <a:lnTo>
                  <a:pt x="3237285" y="3073400"/>
                </a:lnTo>
                <a:lnTo>
                  <a:pt x="3266801" y="3048000"/>
                </a:lnTo>
                <a:lnTo>
                  <a:pt x="3295490" y="3009900"/>
                </a:lnTo>
                <a:lnTo>
                  <a:pt x="3323338" y="2971800"/>
                </a:lnTo>
                <a:lnTo>
                  <a:pt x="3350329" y="2933700"/>
                </a:lnTo>
                <a:lnTo>
                  <a:pt x="3376448" y="2895600"/>
                </a:lnTo>
                <a:lnTo>
                  <a:pt x="3401681" y="2857500"/>
                </a:lnTo>
                <a:lnTo>
                  <a:pt x="3426011" y="2819400"/>
                </a:lnTo>
                <a:lnTo>
                  <a:pt x="3449424" y="2781300"/>
                </a:lnTo>
                <a:lnTo>
                  <a:pt x="3471904" y="2743200"/>
                </a:lnTo>
                <a:lnTo>
                  <a:pt x="3493435" y="2705100"/>
                </a:lnTo>
                <a:lnTo>
                  <a:pt x="3514004" y="2667000"/>
                </a:lnTo>
                <a:lnTo>
                  <a:pt x="3533594" y="2628900"/>
                </a:lnTo>
                <a:lnTo>
                  <a:pt x="3552191" y="2578100"/>
                </a:lnTo>
                <a:lnTo>
                  <a:pt x="3569778" y="2540000"/>
                </a:lnTo>
                <a:lnTo>
                  <a:pt x="3586341" y="2501900"/>
                </a:lnTo>
                <a:lnTo>
                  <a:pt x="3601865" y="2451100"/>
                </a:lnTo>
                <a:lnTo>
                  <a:pt x="3616334" y="2413000"/>
                </a:lnTo>
                <a:lnTo>
                  <a:pt x="3629733" y="2362200"/>
                </a:lnTo>
                <a:lnTo>
                  <a:pt x="3642047" y="2324100"/>
                </a:lnTo>
                <a:lnTo>
                  <a:pt x="3653261" y="2273300"/>
                </a:lnTo>
                <a:lnTo>
                  <a:pt x="3663358" y="2235200"/>
                </a:lnTo>
                <a:lnTo>
                  <a:pt x="3672325" y="2184400"/>
                </a:lnTo>
                <a:lnTo>
                  <a:pt x="3680146" y="2133600"/>
                </a:lnTo>
                <a:lnTo>
                  <a:pt x="3686806" y="2095500"/>
                </a:lnTo>
                <a:lnTo>
                  <a:pt x="3692288" y="2044700"/>
                </a:lnTo>
                <a:lnTo>
                  <a:pt x="3696579" y="1993900"/>
                </a:lnTo>
                <a:lnTo>
                  <a:pt x="3699663" y="1943100"/>
                </a:lnTo>
                <a:lnTo>
                  <a:pt x="3701525" y="1905000"/>
                </a:lnTo>
                <a:lnTo>
                  <a:pt x="3702149" y="1854200"/>
                </a:lnTo>
                <a:lnTo>
                  <a:pt x="3701525" y="1803400"/>
                </a:lnTo>
                <a:lnTo>
                  <a:pt x="3699663" y="1752600"/>
                </a:lnTo>
                <a:lnTo>
                  <a:pt x="3696579" y="1701800"/>
                </a:lnTo>
                <a:lnTo>
                  <a:pt x="3692288" y="1663700"/>
                </a:lnTo>
                <a:lnTo>
                  <a:pt x="3686806" y="1612900"/>
                </a:lnTo>
                <a:lnTo>
                  <a:pt x="3680146" y="1562100"/>
                </a:lnTo>
                <a:lnTo>
                  <a:pt x="3672325" y="1524000"/>
                </a:lnTo>
                <a:lnTo>
                  <a:pt x="3663358" y="1473200"/>
                </a:lnTo>
                <a:lnTo>
                  <a:pt x="3653261" y="1422400"/>
                </a:lnTo>
                <a:lnTo>
                  <a:pt x="3642047" y="1384300"/>
                </a:lnTo>
                <a:lnTo>
                  <a:pt x="3629733" y="1333500"/>
                </a:lnTo>
                <a:lnTo>
                  <a:pt x="3616334" y="1295400"/>
                </a:lnTo>
                <a:lnTo>
                  <a:pt x="3601865" y="1244600"/>
                </a:lnTo>
                <a:lnTo>
                  <a:pt x="3586341" y="1206500"/>
                </a:lnTo>
                <a:lnTo>
                  <a:pt x="3569778" y="1168400"/>
                </a:lnTo>
                <a:lnTo>
                  <a:pt x="3552191" y="1117600"/>
                </a:lnTo>
                <a:lnTo>
                  <a:pt x="3533594" y="1079500"/>
                </a:lnTo>
                <a:lnTo>
                  <a:pt x="3514004" y="1041400"/>
                </a:lnTo>
                <a:lnTo>
                  <a:pt x="3493435" y="990600"/>
                </a:lnTo>
                <a:lnTo>
                  <a:pt x="3471904" y="952500"/>
                </a:lnTo>
                <a:lnTo>
                  <a:pt x="3449424" y="914400"/>
                </a:lnTo>
                <a:lnTo>
                  <a:pt x="3426011" y="876300"/>
                </a:lnTo>
                <a:lnTo>
                  <a:pt x="3401681" y="838200"/>
                </a:lnTo>
                <a:lnTo>
                  <a:pt x="3376448" y="800100"/>
                </a:lnTo>
                <a:lnTo>
                  <a:pt x="3350329" y="762000"/>
                </a:lnTo>
                <a:lnTo>
                  <a:pt x="3323338" y="723900"/>
                </a:lnTo>
                <a:lnTo>
                  <a:pt x="3295490" y="698500"/>
                </a:lnTo>
                <a:lnTo>
                  <a:pt x="3266801" y="660400"/>
                </a:lnTo>
                <a:lnTo>
                  <a:pt x="3237285" y="622300"/>
                </a:lnTo>
                <a:lnTo>
                  <a:pt x="3206959" y="596900"/>
                </a:lnTo>
                <a:lnTo>
                  <a:pt x="3175838" y="558800"/>
                </a:lnTo>
                <a:lnTo>
                  <a:pt x="3143936" y="520700"/>
                </a:lnTo>
                <a:lnTo>
                  <a:pt x="3111268" y="495300"/>
                </a:lnTo>
                <a:lnTo>
                  <a:pt x="3077851" y="469900"/>
                </a:lnTo>
                <a:lnTo>
                  <a:pt x="3043700" y="431800"/>
                </a:lnTo>
                <a:lnTo>
                  <a:pt x="3008829" y="406400"/>
                </a:lnTo>
                <a:lnTo>
                  <a:pt x="2973254" y="381000"/>
                </a:lnTo>
                <a:lnTo>
                  <a:pt x="2936989" y="355600"/>
                </a:lnTo>
                <a:lnTo>
                  <a:pt x="2900052" y="330200"/>
                </a:lnTo>
                <a:lnTo>
                  <a:pt x="2862456" y="304800"/>
                </a:lnTo>
                <a:lnTo>
                  <a:pt x="2824216" y="279400"/>
                </a:lnTo>
                <a:lnTo>
                  <a:pt x="2785349" y="254000"/>
                </a:lnTo>
                <a:lnTo>
                  <a:pt x="2705791" y="203200"/>
                </a:lnTo>
                <a:lnTo>
                  <a:pt x="2665132" y="190500"/>
                </a:lnTo>
                <a:lnTo>
                  <a:pt x="2623905" y="165100"/>
                </a:lnTo>
                <a:lnTo>
                  <a:pt x="2582127" y="152400"/>
                </a:lnTo>
                <a:lnTo>
                  <a:pt x="2539812" y="127000"/>
                </a:lnTo>
                <a:lnTo>
                  <a:pt x="2275510" y="50800"/>
                </a:lnTo>
                <a:lnTo>
                  <a:pt x="2183808" y="25400"/>
                </a:lnTo>
                <a:close/>
              </a:path>
              <a:path w="3702684" h="3695700">
                <a:moveTo>
                  <a:pt x="2090509" y="12700"/>
                </a:moveTo>
                <a:lnTo>
                  <a:pt x="1611639" y="12700"/>
                </a:lnTo>
                <a:lnTo>
                  <a:pt x="1564797" y="25400"/>
                </a:lnTo>
                <a:lnTo>
                  <a:pt x="2137351" y="25400"/>
                </a:lnTo>
                <a:lnTo>
                  <a:pt x="2090509" y="12700"/>
                </a:lnTo>
                <a:close/>
              </a:path>
              <a:path w="3702684" h="3695700">
                <a:moveTo>
                  <a:pt x="1995735" y="0"/>
                </a:moveTo>
                <a:lnTo>
                  <a:pt x="1706413" y="0"/>
                </a:lnTo>
                <a:lnTo>
                  <a:pt x="1658849" y="12700"/>
                </a:lnTo>
                <a:lnTo>
                  <a:pt x="2043299" y="12700"/>
                </a:lnTo>
                <a:lnTo>
                  <a:pt x="1995735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92" dirty="0">
              <a:solidFill>
                <a:prstClr val="black"/>
              </a:solidFill>
              <a:latin typeface="Segoe UI" panose="020B0502040204020203" pitchFamily="34" charset="0"/>
            </a:endParaRP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74E989F5-B118-4F46-8856-C79BB54DE1AE}"/>
              </a:ext>
            </a:extLst>
          </p:cNvPr>
          <p:cNvSpPr/>
          <p:nvPr userDrawn="1"/>
        </p:nvSpPr>
        <p:spPr>
          <a:xfrm>
            <a:off x="6364069" y="2068415"/>
            <a:ext cx="2245312" cy="2241076"/>
          </a:xfrm>
          <a:custGeom>
            <a:avLst/>
            <a:gdLst/>
            <a:ahLst/>
            <a:cxnLst/>
            <a:rect l="l" t="t" r="r" b="b"/>
            <a:pathLst>
              <a:path w="3702684" h="3695700">
                <a:moveTo>
                  <a:pt x="2090509" y="3683000"/>
                </a:moveTo>
                <a:lnTo>
                  <a:pt x="1611639" y="3683000"/>
                </a:lnTo>
                <a:lnTo>
                  <a:pt x="1658849" y="3695700"/>
                </a:lnTo>
                <a:lnTo>
                  <a:pt x="2043299" y="3695700"/>
                </a:lnTo>
                <a:lnTo>
                  <a:pt x="2090509" y="3683000"/>
                </a:lnTo>
                <a:close/>
              </a:path>
              <a:path w="3702684" h="3695700">
                <a:moveTo>
                  <a:pt x="2229866" y="3657600"/>
                </a:moveTo>
                <a:lnTo>
                  <a:pt x="1472282" y="3657600"/>
                </a:lnTo>
                <a:lnTo>
                  <a:pt x="1564797" y="3683000"/>
                </a:lnTo>
                <a:lnTo>
                  <a:pt x="2137351" y="3683000"/>
                </a:lnTo>
                <a:lnTo>
                  <a:pt x="2229866" y="3657600"/>
                </a:lnTo>
                <a:close/>
              </a:path>
              <a:path w="3702684" h="3695700">
                <a:moveTo>
                  <a:pt x="2183808" y="25400"/>
                </a:moveTo>
                <a:lnTo>
                  <a:pt x="1518340" y="25400"/>
                </a:lnTo>
                <a:lnTo>
                  <a:pt x="1426638" y="50800"/>
                </a:lnTo>
                <a:lnTo>
                  <a:pt x="1162336" y="127000"/>
                </a:lnTo>
                <a:lnTo>
                  <a:pt x="1120021" y="152400"/>
                </a:lnTo>
                <a:lnTo>
                  <a:pt x="1078243" y="165100"/>
                </a:lnTo>
                <a:lnTo>
                  <a:pt x="1037016" y="190500"/>
                </a:lnTo>
                <a:lnTo>
                  <a:pt x="996357" y="203200"/>
                </a:lnTo>
                <a:lnTo>
                  <a:pt x="916799" y="254000"/>
                </a:lnTo>
                <a:lnTo>
                  <a:pt x="877932" y="279400"/>
                </a:lnTo>
                <a:lnTo>
                  <a:pt x="839693" y="304800"/>
                </a:lnTo>
                <a:lnTo>
                  <a:pt x="802096" y="330200"/>
                </a:lnTo>
                <a:lnTo>
                  <a:pt x="765159" y="355600"/>
                </a:lnTo>
                <a:lnTo>
                  <a:pt x="728895" y="381000"/>
                </a:lnTo>
                <a:lnTo>
                  <a:pt x="693319" y="406400"/>
                </a:lnTo>
                <a:lnTo>
                  <a:pt x="658448" y="431800"/>
                </a:lnTo>
                <a:lnTo>
                  <a:pt x="624297" y="469900"/>
                </a:lnTo>
                <a:lnTo>
                  <a:pt x="590880" y="495300"/>
                </a:lnTo>
                <a:lnTo>
                  <a:pt x="558213" y="520700"/>
                </a:lnTo>
                <a:lnTo>
                  <a:pt x="526311" y="558800"/>
                </a:lnTo>
                <a:lnTo>
                  <a:pt x="495189" y="596900"/>
                </a:lnTo>
                <a:lnTo>
                  <a:pt x="464863" y="622300"/>
                </a:lnTo>
                <a:lnTo>
                  <a:pt x="435347" y="660400"/>
                </a:lnTo>
                <a:lnTo>
                  <a:pt x="406658" y="698500"/>
                </a:lnTo>
                <a:lnTo>
                  <a:pt x="378810" y="723900"/>
                </a:lnTo>
                <a:lnTo>
                  <a:pt x="351819" y="762000"/>
                </a:lnTo>
                <a:lnTo>
                  <a:pt x="325700" y="800100"/>
                </a:lnTo>
                <a:lnTo>
                  <a:pt x="300467" y="838200"/>
                </a:lnTo>
                <a:lnTo>
                  <a:pt x="276137" y="876300"/>
                </a:lnTo>
                <a:lnTo>
                  <a:pt x="252724" y="914400"/>
                </a:lnTo>
                <a:lnTo>
                  <a:pt x="230245" y="952500"/>
                </a:lnTo>
                <a:lnTo>
                  <a:pt x="208713" y="990600"/>
                </a:lnTo>
                <a:lnTo>
                  <a:pt x="188144" y="1041400"/>
                </a:lnTo>
                <a:lnTo>
                  <a:pt x="168554" y="1079500"/>
                </a:lnTo>
                <a:lnTo>
                  <a:pt x="149958" y="1117600"/>
                </a:lnTo>
                <a:lnTo>
                  <a:pt x="132370" y="1168400"/>
                </a:lnTo>
                <a:lnTo>
                  <a:pt x="115807" y="1206500"/>
                </a:lnTo>
                <a:lnTo>
                  <a:pt x="100283" y="1244600"/>
                </a:lnTo>
                <a:lnTo>
                  <a:pt x="85814" y="1295400"/>
                </a:lnTo>
                <a:lnTo>
                  <a:pt x="72415" y="1333500"/>
                </a:lnTo>
                <a:lnTo>
                  <a:pt x="60101" y="1384300"/>
                </a:lnTo>
                <a:lnTo>
                  <a:pt x="48887" y="1422400"/>
                </a:lnTo>
                <a:lnTo>
                  <a:pt x="38790" y="1473200"/>
                </a:lnTo>
                <a:lnTo>
                  <a:pt x="29823" y="1524000"/>
                </a:lnTo>
                <a:lnTo>
                  <a:pt x="22002" y="1562100"/>
                </a:lnTo>
                <a:lnTo>
                  <a:pt x="15342" y="1612900"/>
                </a:lnTo>
                <a:lnTo>
                  <a:pt x="9860" y="1663700"/>
                </a:lnTo>
                <a:lnTo>
                  <a:pt x="5569" y="1701800"/>
                </a:lnTo>
                <a:lnTo>
                  <a:pt x="2485" y="1752600"/>
                </a:lnTo>
                <a:lnTo>
                  <a:pt x="623" y="1803400"/>
                </a:lnTo>
                <a:lnTo>
                  <a:pt x="0" y="1854200"/>
                </a:lnTo>
                <a:lnTo>
                  <a:pt x="623" y="1905000"/>
                </a:lnTo>
                <a:lnTo>
                  <a:pt x="2485" y="1943100"/>
                </a:lnTo>
                <a:lnTo>
                  <a:pt x="5569" y="1993900"/>
                </a:lnTo>
                <a:lnTo>
                  <a:pt x="9860" y="2044700"/>
                </a:lnTo>
                <a:lnTo>
                  <a:pt x="15342" y="2095500"/>
                </a:lnTo>
                <a:lnTo>
                  <a:pt x="22002" y="2133600"/>
                </a:lnTo>
                <a:lnTo>
                  <a:pt x="29823" y="2184400"/>
                </a:lnTo>
                <a:lnTo>
                  <a:pt x="38790" y="2235200"/>
                </a:lnTo>
                <a:lnTo>
                  <a:pt x="48887" y="2273300"/>
                </a:lnTo>
                <a:lnTo>
                  <a:pt x="60101" y="2324100"/>
                </a:lnTo>
                <a:lnTo>
                  <a:pt x="72415" y="2362200"/>
                </a:lnTo>
                <a:lnTo>
                  <a:pt x="85814" y="2413000"/>
                </a:lnTo>
                <a:lnTo>
                  <a:pt x="100283" y="2451100"/>
                </a:lnTo>
                <a:lnTo>
                  <a:pt x="115807" y="2501900"/>
                </a:lnTo>
                <a:lnTo>
                  <a:pt x="132370" y="2540000"/>
                </a:lnTo>
                <a:lnTo>
                  <a:pt x="149958" y="2578100"/>
                </a:lnTo>
                <a:lnTo>
                  <a:pt x="168554" y="2628900"/>
                </a:lnTo>
                <a:lnTo>
                  <a:pt x="188144" y="2667000"/>
                </a:lnTo>
                <a:lnTo>
                  <a:pt x="208713" y="2705100"/>
                </a:lnTo>
                <a:lnTo>
                  <a:pt x="230245" y="2743200"/>
                </a:lnTo>
                <a:lnTo>
                  <a:pt x="252724" y="2781300"/>
                </a:lnTo>
                <a:lnTo>
                  <a:pt x="276137" y="2819400"/>
                </a:lnTo>
                <a:lnTo>
                  <a:pt x="300467" y="2857500"/>
                </a:lnTo>
                <a:lnTo>
                  <a:pt x="325700" y="2895600"/>
                </a:lnTo>
                <a:lnTo>
                  <a:pt x="351819" y="2933700"/>
                </a:lnTo>
                <a:lnTo>
                  <a:pt x="378810" y="2971800"/>
                </a:lnTo>
                <a:lnTo>
                  <a:pt x="406658" y="3009900"/>
                </a:lnTo>
                <a:lnTo>
                  <a:pt x="435347" y="3048000"/>
                </a:lnTo>
                <a:lnTo>
                  <a:pt x="464863" y="3073400"/>
                </a:lnTo>
                <a:lnTo>
                  <a:pt x="495189" y="3111500"/>
                </a:lnTo>
                <a:lnTo>
                  <a:pt x="526311" y="3149600"/>
                </a:lnTo>
                <a:lnTo>
                  <a:pt x="558213" y="3175000"/>
                </a:lnTo>
                <a:lnTo>
                  <a:pt x="590880" y="3213100"/>
                </a:lnTo>
                <a:lnTo>
                  <a:pt x="624297" y="3238500"/>
                </a:lnTo>
                <a:lnTo>
                  <a:pt x="658448" y="3263900"/>
                </a:lnTo>
                <a:lnTo>
                  <a:pt x="693319" y="3289300"/>
                </a:lnTo>
                <a:lnTo>
                  <a:pt x="728895" y="3327400"/>
                </a:lnTo>
                <a:lnTo>
                  <a:pt x="765159" y="3352800"/>
                </a:lnTo>
                <a:lnTo>
                  <a:pt x="802096" y="3378200"/>
                </a:lnTo>
                <a:lnTo>
                  <a:pt x="839693" y="3403600"/>
                </a:lnTo>
                <a:lnTo>
                  <a:pt x="877932" y="3429000"/>
                </a:lnTo>
                <a:lnTo>
                  <a:pt x="916799" y="3454400"/>
                </a:lnTo>
                <a:lnTo>
                  <a:pt x="956279" y="3467100"/>
                </a:lnTo>
                <a:lnTo>
                  <a:pt x="1037016" y="3517900"/>
                </a:lnTo>
                <a:lnTo>
                  <a:pt x="1078243" y="3530600"/>
                </a:lnTo>
                <a:lnTo>
                  <a:pt x="1120021" y="3556000"/>
                </a:lnTo>
                <a:lnTo>
                  <a:pt x="1205172" y="3581400"/>
                </a:lnTo>
                <a:lnTo>
                  <a:pt x="1248514" y="3606800"/>
                </a:lnTo>
                <a:lnTo>
                  <a:pt x="1426638" y="3657600"/>
                </a:lnTo>
                <a:lnTo>
                  <a:pt x="2275510" y="3657600"/>
                </a:lnTo>
                <a:lnTo>
                  <a:pt x="2453634" y="3606800"/>
                </a:lnTo>
                <a:lnTo>
                  <a:pt x="2496976" y="3581400"/>
                </a:lnTo>
                <a:lnTo>
                  <a:pt x="2582127" y="3556000"/>
                </a:lnTo>
                <a:lnTo>
                  <a:pt x="2623905" y="3530600"/>
                </a:lnTo>
                <a:lnTo>
                  <a:pt x="2665132" y="3517900"/>
                </a:lnTo>
                <a:lnTo>
                  <a:pt x="2745869" y="3467100"/>
                </a:lnTo>
                <a:lnTo>
                  <a:pt x="2785349" y="3454400"/>
                </a:lnTo>
                <a:lnTo>
                  <a:pt x="2824216" y="3429000"/>
                </a:lnTo>
                <a:lnTo>
                  <a:pt x="2862456" y="3403600"/>
                </a:lnTo>
                <a:lnTo>
                  <a:pt x="2900052" y="3378200"/>
                </a:lnTo>
                <a:lnTo>
                  <a:pt x="2936989" y="3352800"/>
                </a:lnTo>
                <a:lnTo>
                  <a:pt x="2973254" y="3327400"/>
                </a:lnTo>
                <a:lnTo>
                  <a:pt x="3008829" y="3289300"/>
                </a:lnTo>
                <a:lnTo>
                  <a:pt x="3043700" y="3263900"/>
                </a:lnTo>
                <a:lnTo>
                  <a:pt x="3077851" y="3238500"/>
                </a:lnTo>
                <a:lnTo>
                  <a:pt x="3111268" y="3213100"/>
                </a:lnTo>
                <a:lnTo>
                  <a:pt x="3143936" y="3175000"/>
                </a:lnTo>
                <a:lnTo>
                  <a:pt x="3175838" y="3149600"/>
                </a:lnTo>
                <a:lnTo>
                  <a:pt x="3206959" y="3111500"/>
                </a:lnTo>
                <a:lnTo>
                  <a:pt x="3237285" y="3073400"/>
                </a:lnTo>
                <a:lnTo>
                  <a:pt x="3266801" y="3048000"/>
                </a:lnTo>
                <a:lnTo>
                  <a:pt x="3295490" y="3009900"/>
                </a:lnTo>
                <a:lnTo>
                  <a:pt x="3323338" y="2971800"/>
                </a:lnTo>
                <a:lnTo>
                  <a:pt x="3350329" y="2933700"/>
                </a:lnTo>
                <a:lnTo>
                  <a:pt x="3376448" y="2895600"/>
                </a:lnTo>
                <a:lnTo>
                  <a:pt x="3401681" y="2857500"/>
                </a:lnTo>
                <a:lnTo>
                  <a:pt x="3426011" y="2819400"/>
                </a:lnTo>
                <a:lnTo>
                  <a:pt x="3449424" y="2781300"/>
                </a:lnTo>
                <a:lnTo>
                  <a:pt x="3471904" y="2743200"/>
                </a:lnTo>
                <a:lnTo>
                  <a:pt x="3493435" y="2705100"/>
                </a:lnTo>
                <a:lnTo>
                  <a:pt x="3514004" y="2667000"/>
                </a:lnTo>
                <a:lnTo>
                  <a:pt x="3533594" y="2628900"/>
                </a:lnTo>
                <a:lnTo>
                  <a:pt x="3552191" y="2578100"/>
                </a:lnTo>
                <a:lnTo>
                  <a:pt x="3569778" y="2540000"/>
                </a:lnTo>
                <a:lnTo>
                  <a:pt x="3586341" y="2501900"/>
                </a:lnTo>
                <a:lnTo>
                  <a:pt x="3601865" y="2451100"/>
                </a:lnTo>
                <a:lnTo>
                  <a:pt x="3616334" y="2413000"/>
                </a:lnTo>
                <a:lnTo>
                  <a:pt x="3629733" y="2362200"/>
                </a:lnTo>
                <a:lnTo>
                  <a:pt x="3642047" y="2324100"/>
                </a:lnTo>
                <a:lnTo>
                  <a:pt x="3653261" y="2273300"/>
                </a:lnTo>
                <a:lnTo>
                  <a:pt x="3663358" y="2235200"/>
                </a:lnTo>
                <a:lnTo>
                  <a:pt x="3672325" y="2184400"/>
                </a:lnTo>
                <a:lnTo>
                  <a:pt x="3680146" y="2133600"/>
                </a:lnTo>
                <a:lnTo>
                  <a:pt x="3686806" y="2095500"/>
                </a:lnTo>
                <a:lnTo>
                  <a:pt x="3692288" y="2044700"/>
                </a:lnTo>
                <a:lnTo>
                  <a:pt x="3696579" y="1993900"/>
                </a:lnTo>
                <a:lnTo>
                  <a:pt x="3699663" y="1943100"/>
                </a:lnTo>
                <a:lnTo>
                  <a:pt x="3701525" y="1905000"/>
                </a:lnTo>
                <a:lnTo>
                  <a:pt x="3702149" y="1854200"/>
                </a:lnTo>
                <a:lnTo>
                  <a:pt x="3701525" y="1803400"/>
                </a:lnTo>
                <a:lnTo>
                  <a:pt x="3699663" y="1752600"/>
                </a:lnTo>
                <a:lnTo>
                  <a:pt x="3696579" y="1701800"/>
                </a:lnTo>
                <a:lnTo>
                  <a:pt x="3692288" y="1663700"/>
                </a:lnTo>
                <a:lnTo>
                  <a:pt x="3686806" y="1612900"/>
                </a:lnTo>
                <a:lnTo>
                  <a:pt x="3680146" y="1562100"/>
                </a:lnTo>
                <a:lnTo>
                  <a:pt x="3672325" y="1524000"/>
                </a:lnTo>
                <a:lnTo>
                  <a:pt x="3663358" y="1473200"/>
                </a:lnTo>
                <a:lnTo>
                  <a:pt x="3653261" y="1422400"/>
                </a:lnTo>
                <a:lnTo>
                  <a:pt x="3642047" y="1384300"/>
                </a:lnTo>
                <a:lnTo>
                  <a:pt x="3629733" y="1333500"/>
                </a:lnTo>
                <a:lnTo>
                  <a:pt x="3616334" y="1295400"/>
                </a:lnTo>
                <a:lnTo>
                  <a:pt x="3601865" y="1244600"/>
                </a:lnTo>
                <a:lnTo>
                  <a:pt x="3586341" y="1206500"/>
                </a:lnTo>
                <a:lnTo>
                  <a:pt x="3569778" y="1168400"/>
                </a:lnTo>
                <a:lnTo>
                  <a:pt x="3552191" y="1117600"/>
                </a:lnTo>
                <a:lnTo>
                  <a:pt x="3533594" y="1079500"/>
                </a:lnTo>
                <a:lnTo>
                  <a:pt x="3514004" y="1041400"/>
                </a:lnTo>
                <a:lnTo>
                  <a:pt x="3493435" y="990600"/>
                </a:lnTo>
                <a:lnTo>
                  <a:pt x="3471904" y="952500"/>
                </a:lnTo>
                <a:lnTo>
                  <a:pt x="3449424" y="914400"/>
                </a:lnTo>
                <a:lnTo>
                  <a:pt x="3426011" y="876300"/>
                </a:lnTo>
                <a:lnTo>
                  <a:pt x="3401681" y="838200"/>
                </a:lnTo>
                <a:lnTo>
                  <a:pt x="3376448" y="800100"/>
                </a:lnTo>
                <a:lnTo>
                  <a:pt x="3350329" y="762000"/>
                </a:lnTo>
                <a:lnTo>
                  <a:pt x="3323338" y="723900"/>
                </a:lnTo>
                <a:lnTo>
                  <a:pt x="3295490" y="698500"/>
                </a:lnTo>
                <a:lnTo>
                  <a:pt x="3266801" y="660400"/>
                </a:lnTo>
                <a:lnTo>
                  <a:pt x="3237285" y="622300"/>
                </a:lnTo>
                <a:lnTo>
                  <a:pt x="3206959" y="596900"/>
                </a:lnTo>
                <a:lnTo>
                  <a:pt x="3175838" y="558800"/>
                </a:lnTo>
                <a:lnTo>
                  <a:pt x="3143936" y="520700"/>
                </a:lnTo>
                <a:lnTo>
                  <a:pt x="3111268" y="495300"/>
                </a:lnTo>
                <a:lnTo>
                  <a:pt x="3077851" y="469900"/>
                </a:lnTo>
                <a:lnTo>
                  <a:pt x="3043700" y="431800"/>
                </a:lnTo>
                <a:lnTo>
                  <a:pt x="3008829" y="406400"/>
                </a:lnTo>
                <a:lnTo>
                  <a:pt x="2973254" y="381000"/>
                </a:lnTo>
                <a:lnTo>
                  <a:pt x="2936989" y="355600"/>
                </a:lnTo>
                <a:lnTo>
                  <a:pt x="2900052" y="330200"/>
                </a:lnTo>
                <a:lnTo>
                  <a:pt x="2862456" y="304800"/>
                </a:lnTo>
                <a:lnTo>
                  <a:pt x="2824216" y="279400"/>
                </a:lnTo>
                <a:lnTo>
                  <a:pt x="2785349" y="254000"/>
                </a:lnTo>
                <a:lnTo>
                  <a:pt x="2705791" y="203200"/>
                </a:lnTo>
                <a:lnTo>
                  <a:pt x="2665132" y="190500"/>
                </a:lnTo>
                <a:lnTo>
                  <a:pt x="2623905" y="165100"/>
                </a:lnTo>
                <a:lnTo>
                  <a:pt x="2582127" y="152400"/>
                </a:lnTo>
                <a:lnTo>
                  <a:pt x="2539812" y="127000"/>
                </a:lnTo>
                <a:lnTo>
                  <a:pt x="2275510" y="50800"/>
                </a:lnTo>
                <a:lnTo>
                  <a:pt x="2183808" y="25400"/>
                </a:lnTo>
                <a:close/>
              </a:path>
              <a:path w="3702684" h="3695700">
                <a:moveTo>
                  <a:pt x="2090509" y="12700"/>
                </a:moveTo>
                <a:lnTo>
                  <a:pt x="1611639" y="12700"/>
                </a:lnTo>
                <a:lnTo>
                  <a:pt x="1564797" y="25400"/>
                </a:lnTo>
                <a:lnTo>
                  <a:pt x="2137351" y="25400"/>
                </a:lnTo>
                <a:lnTo>
                  <a:pt x="2090509" y="12700"/>
                </a:lnTo>
                <a:close/>
              </a:path>
              <a:path w="3702684" h="3695700">
                <a:moveTo>
                  <a:pt x="1995735" y="0"/>
                </a:moveTo>
                <a:lnTo>
                  <a:pt x="1706413" y="0"/>
                </a:lnTo>
                <a:lnTo>
                  <a:pt x="1658849" y="12700"/>
                </a:lnTo>
                <a:lnTo>
                  <a:pt x="2043299" y="12700"/>
                </a:lnTo>
                <a:lnTo>
                  <a:pt x="1995735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defTabSz="554492"/>
            <a:endParaRPr sz="1092" dirty="0">
              <a:solidFill>
                <a:prstClr val="black"/>
              </a:solidFill>
              <a:latin typeface="Segoe UI" panose="020B0502040204020203" pitchFamily="34" charset="0"/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380D1F6D-7D1B-49DE-BE52-531034D79A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306327"/>
            <a:ext cx="5577108" cy="55403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rgbClr val="000000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6">
            <a:extLst>
              <a:ext uri="{FF2B5EF4-FFF2-40B4-BE49-F238E27FC236}">
                <a16:creationId xmlns:a16="http://schemas.microsoft.com/office/drawing/2014/main" id="{46FE390E-11E8-4941-9C12-B4E0F8E969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9345" y="4584141"/>
            <a:ext cx="2444917" cy="618339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91EB4381-ED71-4124-8DF9-C60406EF368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48329" y="4584141"/>
            <a:ext cx="2514542" cy="618339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26">
            <a:extLst>
              <a:ext uri="{FF2B5EF4-FFF2-40B4-BE49-F238E27FC236}">
                <a16:creationId xmlns:a16="http://schemas.microsoft.com/office/drawing/2014/main" id="{F78CC823-CBB8-4431-BA6D-16E62CFC429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9131" y="4584140"/>
            <a:ext cx="2514542" cy="618339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1" name="Text Placeholder 26">
            <a:extLst>
              <a:ext uri="{FF2B5EF4-FFF2-40B4-BE49-F238E27FC236}">
                <a16:creationId xmlns:a16="http://schemas.microsoft.com/office/drawing/2014/main" id="{9F0F4E4C-1590-40D6-9009-9D1D27674E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010578" y="4584139"/>
            <a:ext cx="2514542" cy="618339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A7FA69E6-5C7B-F8DE-6F67-4BDA7AFF24D7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3754395" y="2239866"/>
            <a:ext cx="1915550" cy="1911936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26745B24-1A74-4CB1-88CB-3A2ABC5D5447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535197" y="2239866"/>
            <a:ext cx="1915550" cy="1911936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8F69C9D3-57E5-367E-62ED-E503120B29F0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9315999" y="2239866"/>
            <a:ext cx="1915550" cy="1911936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0FE6E5ED-D573-8BF8-040E-EE3D63E44E2F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972946" y="2239866"/>
            <a:ext cx="1915550" cy="1911936"/>
          </a:xfrm>
          <a:prstGeom prst="ellipse">
            <a:avLst/>
          </a:prstGeom>
          <a:noFill/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0" name="Номер слайда 5">
            <a:extLst>
              <a:ext uri="{FF2B5EF4-FFF2-40B4-BE49-F238E27FC236}">
                <a16:creationId xmlns:a16="http://schemas.microsoft.com/office/drawing/2014/main" id="{9122BD28-8E3E-C462-D781-7E37AF1731B9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D642283-1091-2C6F-894B-F3E41D9EFD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505241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Horisont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2">
            <a:extLst>
              <a:ext uri="{FF2B5EF4-FFF2-40B4-BE49-F238E27FC236}">
                <a16:creationId xmlns:a16="http://schemas.microsoft.com/office/drawing/2014/main" id="{E4FD2CFF-0F3D-42BB-BBFF-903727B32640}"/>
              </a:ext>
            </a:extLst>
          </p:cNvPr>
          <p:cNvSpPr/>
          <p:nvPr userDrawn="1"/>
        </p:nvSpPr>
        <p:spPr>
          <a:xfrm>
            <a:off x="0" y="1562188"/>
            <a:ext cx="12192000" cy="2359660"/>
          </a:xfrm>
          <a:custGeom>
            <a:avLst/>
            <a:gdLst/>
            <a:ahLst/>
            <a:cxnLst/>
            <a:rect l="l" t="t" r="r" b="b"/>
            <a:pathLst>
              <a:path w="11269980" h="2359660">
                <a:moveTo>
                  <a:pt x="0" y="2359152"/>
                </a:moveTo>
                <a:lnTo>
                  <a:pt x="11269980" y="2359152"/>
                </a:lnTo>
                <a:lnTo>
                  <a:pt x="11269980" y="0"/>
                </a:lnTo>
                <a:lnTo>
                  <a:pt x="0" y="0"/>
                </a:lnTo>
                <a:lnTo>
                  <a:pt x="0" y="2359152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endParaRPr lang="en-US" noProof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647ABC-6745-43B6-8A64-6E191BD65CA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4133087"/>
            <a:ext cx="10431780" cy="2043875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AA23118C-882F-4024-74BB-A07F51631072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4E9FF4-A456-02D2-E564-35CD0500E6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599350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Horisont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2">
            <a:extLst>
              <a:ext uri="{FF2B5EF4-FFF2-40B4-BE49-F238E27FC236}">
                <a16:creationId xmlns:a16="http://schemas.microsoft.com/office/drawing/2014/main" id="{E4FD2CFF-0F3D-42BB-BBFF-903727B32640}"/>
              </a:ext>
            </a:extLst>
          </p:cNvPr>
          <p:cNvSpPr/>
          <p:nvPr userDrawn="1"/>
        </p:nvSpPr>
        <p:spPr>
          <a:xfrm>
            <a:off x="0" y="1562188"/>
            <a:ext cx="12192000" cy="2359660"/>
          </a:xfrm>
          <a:custGeom>
            <a:avLst/>
            <a:gdLst/>
            <a:ahLst/>
            <a:cxnLst/>
            <a:rect l="l" t="t" r="r" b="b"/>
            <a:pathLst>
              <a:path w="11269980" h="2359660">
                <a:moveTo>
                  <a:pt x="0" y="2359152"/>
                </a:moveTo>
                <a:lnTo>
                  <a:pt x="11269980" y="2359152"/>
                </a:lnTo>
                <a:lnTo>
                  <a:pt x="11269980" y="0"/>
                </a:lnTo>
                <a:lnTo>
                  <a:pt x="0" y="0"/>
                </a:lnTo>
                <a:lnTo>
                  <a:pt x="0" y="2359152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endParaRPr lang="en-US" noProof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647ABC-6745-43B6-8A64-6E191BD65CA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4133087"/>
            <a:ext cx="10431780" cy="2043875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1B0D46C-2987-401A-A0C4-CFB6F73E9D23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44296" y="1788579"/>
            <a:ext cx="10425684" cy="1906878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2BED5BB-AC1F-B118-9AED-218F04B7CC5F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AB47BD-F3D4-1ACA-C5D5-2F5F6C6AA5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304213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8">
            <a:extLst>
              <a:ext uri="{FF2B5EF4-FFF2-40B4-BE49-F238E27FC236}">
                <a16:creationId xmlns:a16="http://schemas.microsoft.com/office/drawing/2014/main" id="{F0F8E384-BA0F-483E-9461-E3EC6B643943}"/>
              </a:ext>
            </a:extLst>
          </p:cNvPr>
          <p:cNvSpPr txBox="1"/>
          <p:nvPr userDrawn="1"/>
        </p:nvSpPr>
        <p:spPr>
          <a:xfrm>
            <a:off x="747821" y="4903158"/>
            <a:ext cx="2467109" cy="675015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200619" rIns="0" bIns="0" rtlCol="0">
            <a:noAutofit/>
          </a:bodyPr>
          <a:lstStyle/>
          <a:p>
            <a:pPr algn="ctr" defTabSz="554492">
              <a:spcBef>
                <a:spcPts val="1580"/>
              </a:spcBef>
            </a:pPr>
            <a:endParaRPr sz="1243" dirty="0">
              <a:solidFill>
                <a:schemeClr val="tx1"/>
              </a:solidFill>
              <a:cs typeface="Source Sans Pro"/>
            </a:endParaRPr>
          </a:p>
        </p:txBody>
      </p:sp>
      <p:sp>
        <p:nvSpPr>
          <p:cNvPr id="13" name="object 9">
            <a:extLst>
              <a:ext uri="{FF2B5EF4-FFF2-40B4-BE49-F238E27FC236}">
                <a16:creationId xmlns:a16="http://schemas.microsoft.com/office/drawing/2014/main" id="{6DD294EC-C0DE-4430-B77F-EE254236A40F}"/>
              </a:ext>
            </a:extLst>
          </p:cNvPr>
          <p:cNvSpPr txBox="1"/>
          <p:nvPr userDrawn="1"/>
        </p:nvSpPr>
        <p:spPr>
          <a:xfrm>
            <a:off x="8977110" y="4903158"/>
            <a:ext cx="2467109" cy="675015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200619" rIns="0" bIns="0" rtlCol="0">
            <a:noAutofit/>
          </a:bodyPr>
          <a:lstStyle/>
          <a:p>
            <a:pPr algn="ctr" defTabSz="554492">
              <a:spcBef>
                <a:spcPts val="1580"/>
              </a:spcBef>
            </a:pPr>
            <a:endParaRPr sz="1243" dirty="0">
              <a:solidFill>
                <a:schemeClr val="tx1"/>
              </a:solidFill>
              <a:cs typeface="Source Sans Pro"/>
            </a:endParaRPr>
          </a:p>
        </p:txBody>
      </p:sp>
      <p:sp>
        <p:nvSpPr>
          <p:cNvPr id="14" name="object 10">
            <a:extLst>
              <a:ext uri="{FF2B5EF4-FFF2-40B4-BE49-F238E27FC236}">
                <a16:creationId xmlns:a16="http://schemas.microsoft.com/office/drawing/2014/main" id="{1C160D20-36F8-4387-8BE4-B535FF06935F}"/>
              </a:ext>
            </a:extLst>
          </p:cNvPr>
          <p:cNvSpPr txBox="1"/>
          <p:nvPr userDrawn="1"/>
        </p:nvSpPr>
        <p:spPr>
          <a:xfrm>
            <a:off x="6234014" y="4903158"/>
            <a:ext cx="2467109" cy="675015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200619" rIns="0" bIns="0" rtlCol="0">
            <a:noAutofit/>
          </a:bodyPr>
          <a:lstStyle/>
          <a:p>
            <a:pPr algn="ctr" defTabSz="554492">
              <a:spcBef>
                <a:spcPts val="1580"/>
              </a:spcBef>
            </a:pPr>
            <a:endParaRPr sz="1243" dirty="0">
              <a:solidFill>
                <a:schemeClr val="tx1"/>
              </a:solidFill>
              <a:cs typeface="Source Sans Pro"/>
            </a:endParaRPr>
          </a:p>
        </p:txBody>
      </p:sp>
      <p:sp>
        <p:nvSpPr>
          <p:cNvPr id="15" name="object 11">
            <a:extLst>
              <a:ext uri="{FF2B5EF4-FFF2-40B4-BE49-F238E27FC236}">
                <a16:creationId xmlns:a16="http://schemas.microsoft.com/office/drawing/2014/main" id="{F20EAADE-3E36-4598-92AE-0AF59AB9D1B3}"/>
              </a:ext>
            </a:extLst>
          </p:cNvPr>
          <p:cNvSpPr txBox="1"/>
          <p:nvPr userDrawn="1"/>
        </p:nvSpPr>
        <p:spPr>
          <a:xfrm>
            <a:off x="3490918" y="4903158"/>
            <a:ext cx="2467109" cy="675015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200619" rIns="0" bIns="0" rtlCol="0">
            <a:noAutofit/>
          </a:bodyPr>
          <a:lstStyle/>
          <a:p>
            <a:pPr algn="ctr" defTabSz="554492">
              <a:spcBef>
                <a:spcPts val="1580"/>
              </a:spcBef>
            </a:pPr>
            <a:endParaRPr sz="1243" dirty="0">
              <a:solidFill>
                <a:schemeClr val="tx1"/>
              </a:solidFill>
              <a:cs typeface="Source Sans Pro"/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CCFFFA7-A495-42B8-972F-58820F63E9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4489" y="1292873"/>
            <a:ext cx="8315360" cy="943894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1800" kern="1200" spc="-6" dirty="0" smtClean="0">
                <a:solidFill>
                  <a:srgbClr val="000000"/>
                </a:solidFill>
                <a:latin typeface="+mn-lt"/>
                <a:ea typeface="+mn-ea"/>
                <a:cs typeface="Source Sans Pro"/>
              </a:defRPr>
            </a:lvl1pPr>
            <a:lvl2pPr marL="457200" indent="0">
              <a:buNone/>
              <a:defRPr lang="en-US" sz="1243" kern="1200" spc="-6" dirty="0" smtClean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2pPr>
            <a:lvl3pPr marL="914400" indent="0">
              <a:buNone/>
              <a:defRPr lang="en-US" sz="1243" kern="1200" spc="-6" dirty="0" smtClean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3pPr>
            <a:lvl4pPr marL="1371600" indent="0">
              <a:buNone/>
              <a:defRPr lang="en-US" sz="1243" kern="1200" spc="-6" dirty="0" smtClean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4pPr>
            <a:lvl5pPr marL="1828800" indent="0">
              <a:buNone/>
              <a:defRPr lang="ru-RU" sz="1243" kern="1200" spc="-6" dirty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8C169C6-267D-4763-95C6-01AA5ABE516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47916" y="2401258"/>
            <a:ext cx="2466975" cy="250190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0" name="Picture Placeholder 18">
            <a:extLst>
              <a:ext uri="{FF2B5EF4-FFF2-40B4-BE49-F238E27FC236}">
                <a16:creationId xmlns:a16="http://schemas.microsoft.com/office/drawing/2014/main" id="{C2CEC0E1-F995-4AA5-9DD2-8945E53AAC4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91012" y="2410783"/>
            <a:ext cx="2466975" cy="250190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/>
          </a:p>
        </p:txBody>
      </p:sp>
      <p:sp>
        <p:nvSpPr>
          <p:cNvPr id="21" name="Picture Placeholder 18">
            <a:extLst>
              <a:ext uri="{FF2B5EF4-FFF2-40B4-BE49-F238E27FC236}">
                <a16:creationId xmlns:a16="http://schemas.microsoft.com/office/drawing/2014/main" id="{C8F1422E-F9AF-4104-9DEC-B4306C20FCC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33974" y="2410783"/>
            <a:ext cx="2466975" cy="250190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/>
          </a:p>
        </p:txBody>
      </p:sp>
      <p:sp>
        <p:nvSpPr>
          <p:cNvPr id="22" name="Picture Placeholder 18">
            <a:extLst>
              <a:ext uri="{FF2B5EF4-FFF2-40B4-BE49-F238E27FC236}">
                <a16:creationId xmlns:a16="http://schemas.microsoft.com/office/drawing/2014/main" id="{EF82E5E4-9C9A-42E5-877F-335826BC2AC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77176" y="2410783"/>
            <a:ext cx="2466975" cy="250190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DF52AF17-A254-40F1-9D31-ABE04371E5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90764" y="4927518"/>
            <a:ext cx="2467223" cy="622079"/>
          </a:xfrm>
        </p:spPr>
        <p:txBody>
          <a:bodyPr>
            <a:noAutofit/>
          </a:bodyPr>
          <a:lstStyle>
            <a:lvl1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chemeClr val="tx1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3014E504-F2ED-4E29-9102-7C85CEF8F23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33867" y="4903158"/>
            <a:ext cx="2467223" cy="622079"/>
          </a:xfrm>
        </p:spPr>
        <p:txBody>
          <a:bodyPr>
            <a:noAutofit/>
          </a:bodyPr>
          <a:lstStyle>
            <a:lvl1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chemeClr val="tx1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372D190A-0E0E-4CF3-85E8-BCED0A52C1D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76822" y="4912683"/>
            <a:ext cx="2467223" cy="622079"/>
          </a:xfrm>
        </p:spPr>
        <p:txBody>
          <a:bodyPr>
            <a:noAutofit/>
          </a:bodyPr>
          <a:lstStyle>
            <a:lvl1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chemeClr val="tx1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BBE15F57-D114-436E-9E07-59D18560FF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47781" y="4930999"/>
            <a:ext cx="2467223" cy="622079"/>
          </a:xfrm>
        </p:spPr>
        <p:txBody>
          <a:bodyPr>
            <a:noAutofit/>
          </a:bodyPr>
          <a:lstStyle>
            <a:lvl1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chemeClr val="tx1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Номер слайда 5">
            <a:extLst>
              <a:ext uri="{FF2B5EF4-FFF2-40B4-BE49-F238E27FC236}">
                <a16:creationId xmlns:a16="http://schemas.microsoft.com/office/drawing/2014/main" id="{A15A338F-FB41-7675-F4F2-00ADE689EC14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16F906-6890-42DD-FBAF-3016D80ABB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443142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6C514FF2-FEBC-4C97-8C75-E7ECEF0C45A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095668" y="2176792"/>
            <a:ext cx="2674937" cy="205898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object 2">
            <a:extLst>
              <a:ext uri="{FF2B5EF4-FFF2-40B4-BE49-F238E27FC236}">
                <a16:creationId xmlns:a16="http://schemas.microsoft.com/office/drawing/2014/main" id="{F3569BE6-FC2B-4691-9173-8AFA58423EE8}"/>
              </a:ext>
            </a:extLst>
          </p:cNvPr>
          <p:cNvSpPr/>
          <p:nvPr userDrawn="1"/>
        </p:nvSpPr>
        <p:spPr>
          <a:xfrm>
            <a:off x="3421911" y="2187733"/>
            <a:ext cx="2674273" cy="2048158"/>
          </a:xfrm>
          <a:custGeom>
            <a:avLst/>
            <a:gdLst/>
            <a:ahLst/>
            <a:cxnLst/>
            <a:rect l="l" t="t" r="r" b="b"/>
            <a:pathLst>
              <a:path w="4410075" h="3377565">
                <a:moveTo>
                  <a:pt x="4409771" y="0"/>
                </a:moveTo>
                <a:lnTo>
                  <a:pt x="0" y="0"/>
                </a:lnTo>
                <a:lnTo>
                  <a:pt x="0" y="3377394"/>
                </a:lnTo>
                <a:lnTo>
                  <a:pt x="4409771" y="3377394"/>
                </a:lnTo>
                <a:lnTo>
                  <a:pt x="4409771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defTabSz="554492"/>
            <a:endParaRPr sz="800">
              <a:solidFill>
                <a:prstClr val="black"/>
              </a:solidFill>
            </a:endParaRP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23C2EF06-F742-4E23-82FF-FF7025892C01}"/>
              </a:ext>
            </a:extLst>
          </p:cNvPr>
          <p:cNvSpPr/>
          <p:nvPr userDrawn="1"/>
        </p:nvSpPr>
        <p:spPr>
          <a:xfrm>
            <a:off x="8770090" y="2187733"/>
            <a:ext cx="2674273" cy="2048158"/>
          </a:xfrm>
          <a:custGeom>
            <a:avLst/>
            <a:gdLst/>
            <a:ahLst/>
            <a:cxnLst/>
            <a:rect l="l" t="t" r="r" b="b"/>
            <a:pathLst>
              <a:path w="4410075" h="3377565">
                <a:moveTo>
                  <a:pt x="4409771" y="0"/>
                </a:moveTo>
                <a:lnTo>
                  <a:pt x="0" y="0"/>
                </a:lnTo>
                <a:lnTo>
                  <a:pt x="0" y="3377394"/>
                </a:lnTo>
                <a:lnTo>
                  <a:pt x="4409771" y="3377394"/>
                </a:lnTo>
                <a:lnTo>
                  <a:pt x="4409771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defTabSz="554492"/>
            <a:endParaRPr sz="800">
              <a:solidFill>
                <a:prstClr val="black"/>
              </a:solidFill>
            </a:endParaRP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8F1F3CE2-E9B3-4BDE-9326-F58E8208043E}"/>
              </a:ext>
            </a:extLst>
          </p:cNvPr>
          <p:cNvSpPr/>
          <p:nvPr userDrawn="1"/>
        </p:nvSpPr>
        <p:spPr>
          <a:xfrm>
            <a:off x="747821" y="4235782"/>
            <a:ext cx="2674273" cy="2048158"/>
          </a:xfrm>
          <a:custGeom>
            <a:avLst/>
            <a:gdLst/>
            <a:ahLst/>
            <a:cxnLst/>
            <a:rect l="l" t="t" r="r" b="b"/>
            <a:pathLst>
              <a:path w="4410075" h="3377565">
                <a:moveTo>
                  <a:pt x="4409771" y="0"/>
                </a:moveTo>
                <a:lnTo>
                  <a:pt x="0" y="0"/>
                </a:lnTo>
                <a:lnTo>
                  <a:pt x="0" y="3377405"/>
                </a:lnTo>
                <a:lnTo>
                  <a:pt x="4409771" y="3377405"/>
                </a:lnTo>
                <a:lnTo>
                  <a:pt x="4409771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>
            <a:noAutofit/>
          </a:bodyPr>
          <a:lstStyle/>
          <a:p>
            <a:pPr defTabSz="554492"/>
            <a:endParaRPr sz="800">
              <a:solidFill>
                <a:prstClr val="black"/>
              </a:solidFill>
            </a:endParaRPr>
          </a:p>
        </p:txBody>
      </p:sp>
      <p:sp>
        <p:nvSpPr>
          <p:cNvPr id="9" name="object 5">
            <a:extLst>
              <a:ext uri="{FF2B5EF4-FFF2-40B4-BE49-F238E27FC236}">
                <a16:creationId xmlns:a16="http://schemas.microsoft.com/office/drawing/2014/main" id="{B17EC6F7-63AC-4000-A83C-30048E8B12D0}"/>
              </a:ext>
            </a:extLst>
          </p:cNvPr>
          <p:cNvSpPr/>
          <p:nvPr userDrawn="1"/>
        </p:nvSpPr>
        <p:spPr>
          <a:xfrm>
            <a:off x="6096001" y="4235782"/>
            <a:ext cx="2674273" cy="2048158"/>
          </a:xfrm>
          <a:custGeom>
            <a:avLst/>
            <a:gdLst/>
            <a:ahLst/>
            <a:cxnLst/>
            <a:rect l="l" t="t" r="r" b="b"/>
            <a:pathLst>
              <a:path w="4410075" h="3377565">
                <a:moveTo>
                  <a:pt x="4409771" y="0"/>
                </a:moveTo>
                <a:lnTo>
                  <a:pt x="0" y="0"/>
                </a:lnTo>
                <a:lnTo>
                  <a:pt x="0" y="3377405"/>
                </a:lnTo>
                <a:lnTo>
                  <a:pt x="4409771" y="3377405"/>
                </a:lnTo>
                <a:lnTo>
                  <a:pt x="4409771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>
            <a:noAutofit/>
          </a:bodyPr>
          <a:lstStyle/>
          <a:p>
            <a:pPr defTabSz="554492"/>
            <a:endParaRPr sz="800">
              <a:solidFill>
                <a:prstClr val="black"/>
              </a:solidFill>
            </a:endParaRPr>
          </a:p>
        </p:txBody>
      </p:sp>
      <p:sp>
        <p:nvSpPr>
          <p:cNvPr id="25" name="Text Placeholder 16">
            <a:extLst>
              <a:ext uri="{FF2B5EF4-FFF2-40B4-BE49-F238E27FC236}">
                <a16:creationId xmlns:a16="http://schemas.microsoft.com/office/drawing/2014/main" id="{46F9E776-E814-45ED-97AD-30329D1835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4" y="1604977"/>
            <a:ext cx="8366160" cy="57170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lang="en-US" sz="1243" kern="1200" spc="-6" dirty="0" smtClean="0">
                <a:solidFill>
                  <a:srgbClr val="000000"/>
                </a:solidFill>
                <a:latin typeface="+mn-lt"/>
                <a:ea typeface="+mn-ea"/>
                <a:cs typeface="Source Sans Pro"/>
              </a:defRPr>
            </a:lvl1pPr>
            <a:lvl2pPr marL="457200" indent="0">
              <a:buNone/>
              <a:defRPr lang="en-US" sz="1243" kern="1200" spc="-6" dirty="0" smtClean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2pPr>
            <a:lvl3pPr marL="914400" indent="0">
              <a:buNone/>
              <a:defRPr lang="en-US" sz="1243" kern="1200" spc="-6" dirty="0" smtClean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3pPr>
            <a:lvl4pPr marL="1371600" indent="0">
              <a:buNone/>
              <a:defRPr lang="en-US" sz="1243" kern="1200" spc="-6" dirty="0" smtClean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4pPr>
            <a:lvl5pPr marL="1828800" indent="0">
              <a:buNone/>
              <a:defRPr lang="ru-RU" sz="1243" kern="1200" spc="-6" dirty="0">
                <a:solidFill>
                  <a:srgbClr val="6E7479"/>
                </a:solidFill>
                <a:latin typeface="+mn-lt"/>
                <a:ea typeface="+mn-ea"/>
                <a:cs typeface="Source Sans Pro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E0260DC6-3CE2-4B74-AC46-776AAB409AC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6444" y="4354145"/>
            <a:ext cx="2467223" cy="1279273"/>
          </a:xfrm>
        </p:spPr>
        <p:txBody>
          <a:bodyPr>
            <a:noAutofit/>
          </a:bodyPr>
          <a:lstStyle>
            <a:lvl1pPr marL="0" indent="0" algn="l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27280125-7613-4591-AD34-EB46501A5B6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525345" y="2380419"/>
            <a:ext cx="2467223" cy="1279273"/>
          </a:xfrm>
        </p:spPr>
        <p:txBody>
          <a:bodyPr>
            <a:noAutofit/>
          </a:bodyPr>
          <a:lstStyle>
            <a:lvl1pPr marL="0" indent="0" algn="l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7014CB92-7FD0-4345-A3E7-FEA0C2498C4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899251" y="2363798"/>
            <a:ext cx="2467223" cy="1279273"/>
          </a:xfrm>
        </p:spPr>
        <p:txBody>
          <a:bodyPr>
            <a:noAutofit/>
          </a:bodyPr>
          <a:lstStyle>
            <a:lvl1pPr marL="0" indent="0" algn="l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58F1053D-EACA-4A2E-B732-FD45888FE54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2672" y="4365034"/>
            <a:ext cx="2467223" cy="1279273"/>
          </a:xfrm>
        </p:spPr>
        <p:txBody>
          <a:bodyPr>
            <a:noAutofit/>
          </a:bodyPr>
          <a:lstStyle>
            <a:lvl1pPr marL="0" indent="0" algn="l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1pPr>
            <a:lvl2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2pPr>
            <a:lvl3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3pPr>
            <a:lvl4pPr marL="0" indent="0" algn="ctr" defTabSz="554492" rtl="0" eaLnBrk="1" latinLnBrk="0" hangingPunct="1">
              <a:spcBef>
                <a:spcPts val="1580"/>
              </a:spcBef>
              <a:buNone/>
              <a:defRPr lang="en-US" sz="1577" kern="1200" spc="6" dirty="0" smtClean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4pPr>
            <a:lvl5pPr marL="0" indent="0" algn="ctr" defTabSz="554492" rtl="0" eaLnBrk="1" latinLnBrk="0" hangingPunct="1">
              <a:spcBef>
                <a:spcPts val="1580"/>
              </a:spcBef>
              <a:buNone/>
              <a:defRPr lang="ru-RU" sz="1577" kern="1200" spc="6" dirty="0">
                <a:solidFill>
                  <a:srgbClr val="FFFFFF"/>
                </a:solidFill>
                <a:latin typeface="+mn-lt"/>
                <a:ea typeface="+mn-ea"/>
                <a:cs typeface="Bebas Neu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2" name="Picture Placeholder 30">
            <a:extLst>
              <a:ext uri="{FF2B5EF4-FFF2-40B4-BE49-F238E27FC236}">
                <a16:creationId xmlns:a16="http://schemas.microsoft.com/office/drawing/2014/main" id="{72DEA232-BE2B-40B3-B029-9D93187D7BBF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46218" y="2187560"/>
            <a:ext cx="2674937" cy="205898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3" name="Picture Placeholder 30">
            <a:extLst>
              <a:ext uri="{FF2B5EF4-FFF2-40B4-BE49-F238E27FC236}">
                <a16:creationId xmlns:a16="http://schemas.microsoft.com/office/drawing/2014/main" id="{27AA07FE-3B8D-451E-8D8C-465FEFC1F883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412990" y="4235750"/>
            <a:ext cx="2674937" cy="205898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/>
          </a:p>
        </p:txBody>
      </p:sp>
      <p:sp>
        <p:nvSpPr>
          <p:cNvPr id="34" name="Picture Placeholder 30">
            <a:extLst>
              <a:ext uri="{FF2B5EF4-FFF2-40B4-BE49-F238E27FC236}">
                <a16:creationId xmlns:a16="http://schemas.microsoft.com/office/drawing/2014/main" id="{ED9A5B4B-E492-426E-B609-D3D7D70E5E0A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774581" y="4235750"/>
            <a:ext cx="2674937" cy="205898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/>
          </a:p>
        </p:txBody>
      </p:sp>
      <p:sp>
        <p:nvSpPr>
          <p:cNvPr id="22" name="Номер слайда 5">
            <a:extLst>
              <a:ext uri="{FF2B5EF4-FFF2-40B4-BE49-F238E27FC236}">
                <a16:creationId xmlns:a16="http://schemas.microsoft.com/office/drawing/2014/main" id="{106BF93E-FAAE-E207-E158-179780306F80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B513A6-F077-218D-805A-54A1E89908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277182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th Three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>
            <a:extLst>
              <a:ext uri="{FF2B5EF4-FFF2-40B4-BE49-F238E27FC236}">
                <a16:creationId xmlns:a16="http://schemas.microsoft.com/office/drawing/2014/main" id="{29F16048-FF4E-41B1-B3D4-0FB210A70DF2}"/>
              </a:ext>
            </a:extLst>
          </p:cNvPr>
          <p:cNvSpPr/>
          <p:nvPr userDrawn="1"/>
        </p:nvSpPr>
        <p:spPr>
          <a:xfrm>
            <a:off x="5294630" y="0"/>
            <a:ext cx="6897370" cy="6858000"/>
          </a:xfrm>
          <a:custGeom>
            <a:avLst/>
            <a:gdLst/>
            <a:ahLst/>
            <a:cxnLst/>
            <a:rect l="l" t="t" r="r" b="b"/>
            <a:pathLst>
              <a:path w="6897370" h="6858000">
                <a:moveTo>
                  <a:pt x="0" y="6858000"/>
                </a:moveTo>
                <a:lnTo>
                  <a:pt x="6896900" y="6858000"/>
                </a:lnTo>
                <a:lnTo>
                  <a:pt x="68969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endParaRPr lang="en-US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79774D-36EB-4201-B1AC-922DD2E0664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265674" y="1654915"/>
            <a:ext cx="4505011" cy="1293309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F16274B9-B590-4928-93BB-3F16660C59B0}"/>
              </a:ext>
            </a:extLst>
          </p:cNvPr>
          <p:cNvSpPr>
            <a:spLocks noGrp="1"/>
          </p:cNvSpPr>
          <p:nvPr>
            <p:ph type="body" sz="half" idx="28"/>
          </p:nvPr>
        </p:nvSpPr>
        <p:spPr>
          <a:xfrm>
            <a:off x="7265674" y="3517137"/>
            <a:ext cx="4505011" cy="1293309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EF788AEE-6442-48C7-8B7E-0E2BA805798A}"/>
              </a:ext>
            </a:extLst>
          </p:cNvPr>
          <p:cNvSpPr>
            <a:spLocks noGrp="1"/>
          </p:cNvSpPr>
          <p:nvPr>
            <p:ph type="body" sz="half" idx="30"/>
          </p:nvPr>
        </p:nvSpPr>
        <p:spPr>
          <a:xfrm>
            <a:off x="7265674" y="5379828"/>
            <a:ext cx="4505011" cy="1293309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83DE9FA-A9C9-459F-B2A3-FB4D22561B70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265674" y="1105556"/>
            <a:ext cx="4926326" cy="472851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2200" b="1" smtClean="0">
                <a:solidFill>
                  <a:schemeClr val="tx1"/>
                </a:solidFill>
                <a:latin typeface="+mj-lt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>
              <a:lnSpc>
                <a:spcPct val="110000"/>
              </a:lnSpc>
              <a:spcBef>
                <a:spcPts val="400"/>
              </a:spcBef>
            </a:pPr>
            <a:r>
              <a:rPr lang="en-US" dirty="0"/>
              <a:t>Click to edit Master text styles</a:t>
            </a:r>
            <a:endParaRPr lang="ru-RU" dirty="0"/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358EBB5F-6AA2-4C8A-ACAD-2166AC15AAB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256149" y="2947755"/>
            <a:ext cx="4926326" cy="472851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Tx/>
              <a:buNone/>
              <a:defRPr lang="en-US" sz="2200" b="1" smtClean="0">
                <a:solidFill>
                  <a:schemeClr val="tx1"/>
                </a:solidFill>
                <a:latin typeface="+mj-lt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>
              <a:lnSpc>
                <a:spcPct val="110000"/>
              </a:lnSpc>
              <a:spcBef>
                <a:spcPts val="400"/>
              </a:spcBef>
            </a:pPr>
            <a:r>
              <a:rPr lang="en-US" dirty="0"/>
              <a:t>Click to edit Master text styles</a:t>
            </a:r>
            <a:endParaRPr lang="ru-RU" dirty="0"/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4E98494D-DF8F-43EC-BF3C-976DB4560B8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256149" y="4824901"/>
            <a:ext cx="4926326" cy="472851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Tx/>
              <a:buNone/>
              <a:defRPr lang="en-US" sz="2200" b="1" smtClean="0">
                <a:solidFill>
                  <a:schemeClr val="tx1"/>
                </a:solidFill>
                <a:latin typeface="+mj-lt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>
              <a:lnSpc>
                <a:spcPct val="110000"/>
              </a:lnSpc>
              <a:spcBef>
                <a:spcPts val="400"/>
              </a:spcBef>
            </a:pPr>
            <a:r>
              <a:rPr lang="en-US" dirty="0"/>
              <a:t>Click to edit Master text styles</a:t>
            </a:r>
            <a:endParaRPr lang="ru-RU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70E03C1-BA5E-06B1-76B1-5395C7BC6075}"/>
              </a:ext>
            </a:extLst>
          </p:cNvPr>
          <p:cNvGrpSpPr/>
          <p:nvPr userDrawn="1"/>
        </p:nvGrpSpPr>
        <p:grpSpPr>
          <a:xfrm>
            <a:off x="6571237" y="1182404"/>
            <a:ext cx="396003" cy="396003"/>
            <a:chOff x="862625" y="2255575"/>
            <a:chExt cx="396003" cy="396003"/>
          </a:xfrm>
          <a:solidFill>
            <a:schemeClr val="accent2"/>
          </a:solidFill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A50AA3AE-E0DD-6E1D-87E2-1402CB565BBA}"/>
                </a:ext>
              </a:extLst>
            </p:cNvPr>
            <p:cNvSpPr/>
            <p:nvPr userDrawn="1"/>
          </p:nvSpPr>
          <p:spPr>
            <a:xfrm>
              <a:off x="862625" y="2255575"/>
              <a:ext cx="396003" cy="39600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EB57DC9-BC3F-19A7-40D1-B94AE32A5363}"/>
                </a:ext>
              </a:extLst>
            </p:cNvPr>
            <p:cNvGrpSpPr/>
            <p:nvPr userDrawn="1"/>
          </p:nvGrpSpPr>
          <p:grpSpPr>
            <a:xfrm>
              <a:off x="951850" y="2374689"/>
              <a:ext cx="217552" cy="182628"/>
              <a:chOff x="798036" y="2976923"/>
              <a:chExt cx="217552" cy="182628"/>
            </a:xfrm>
            <a:grpFill/>
          </p:grpSpPr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BE6F55BC-7FEA-20A2-5CCF-5EB40BE69EFB}"/>
                  </a:ext>
                </a:extLst>
              </p:cNvPr>
              <p:cNvCxnSpPr/>
              <p:nvPr userDrawn="1"/>
            </p:nvCxnSpPr>
            <p:spPr>
              <a:xfrm>
                <a:off x="798036" y="3060118"/>
                <a:ext cx="110200" cy="9245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0B9FCCA0-192A-EC67-35E4-7A7AE139033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885487" y="2976923"/>
                <a:ext cx="130101" cy="18262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3A4A0FD6-C3EC-3F43-4490-E2A704F7CEFA}"/>
              </a:ext>
            </a:extLst>
          </p:cNvPr>
          <p:cNvGrpSpPr/>
          <p:nvPr userDrawn="1"/>
        </p:nvGrpSpPr>
        <p:grpSpPr>
          <a:xfrm>
            <a:off x="6571237" y="3051820"/>
            <a:ext cx="396003" cy="396003"/>
            <a:chOff x="862625" y="2255575"/>
            <a:chExt cx="396003" cy="396003"/>
          </a:xfrm>
          <a:solidFill>
            <a:schemeClr val="accent2"/>
          </a:solidFill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284B927D-64DB-435B-5DB9-34225DEB8633}"/>
                </a:ext>
              </a:extLst>
            </p:cNvPr>
            <p:cNvSpPr/>
            <p:nvPr userDrawn="1"/>
          </p:nvSpPr>
          <p:spPr>
            <a:xfrm>
              <a:off x="862625" y="2255575"/>
              <a:ext cx="396003" cy="39600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558FEDA9-C181-6E79-57BD-6487574D30E6}"/>
                </a:ext>
              </a:extLst>
            </p:cNvPr>
            <p:cNvGrpSpPr/>
            <p:nvPr userDrawn="1"/>
          </p:nvGrpSpPr>
          <p:grpSpPr>
            <a:xfrm>
              <a:off x="951850" y="2374689"/>
              <a:ext cx="217552" cy="182628"/>
              <a:chOff x="798036" y="2976923"/>
              <a:chExt cx="217552" cy="182628"/>
            </a:xfrm>
            <a:grpFill/>
          </p:grpSpPr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64C969C4-4045-CD3D-4972-EC2FD7FB39DB}"/>
                  </a:ext>
                </a:extLst>
              </p:cNvPr>
              <p:cNvCxnSpPr/>
              <p:nvPr userDrawn="1"/>
            </p:nvCxnSpPr>
            <p:spPr>
              <a:xfrm>
                <a:off x="798036" y="3060118"/>
                <a:ext cx="110200" cy="9245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B5F1144F-C577-6D73-8A1B-EB2B96BF8BC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885487" y="2976923"/>
                <a:ext cx="130101" cy="18262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26715A5C-2530-EFF4-8BC9-2ABE72AF45DF}"/>
              </a:ext>
            </a:extLst>
          </p:cNvPr>
          <p:cNvGrpSpPr/>
          <p:nvPr userDrawn="1"/>
        </p:nvGrpSpPr>
        <p:grpSpPr>
          <a:xfrm>
            <a:off x="6562690" y="4914899"/>
            <a:ext cx="396003" cy="396003"/>
            <a:chOff x="862625" y="2255575"/>
            <a:chExt cx="396003" cy="396003"/>
          </a:xfrm>
          <a:solidFill>
            <a:schemeClr val="accent2"/>
          </a:solidFill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DC147EEC-7502-7F3A-C6A3-ACBFA29428DE}"/>
                </a:ext>
              </a:extLst>
            </p:cNvPr>
            <p:cNvSpPr/>
            <p:nvPr userDrawn="1"/>
          </p:nvSpPr>
          <p:spPr>
            <a:xfrm>
              <a:off x="862625" y="2255575"/>
              <a:ext cx="396003" cy="39600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63189DF1-5BE0-651F-8E87-FDDD59B736BD}"/>
                </a:ext>
              </a:extLst>
            </p:cNvPr>
            <p:cNvGrpSpPr/>
            <p:nvPr userDrawn="1"/>
          </p:nvGrpSpPr>
          <p:grpSpPr>
            <a:xfrm>
              <a:off x="951850" y="2374689"/>
              <a:ext cx="217552" cy="182628"/>
              <a:chOff x="798036" y="2976923"/>
              <a:chExt cx="217552" cy="182628"/>
            </a:xfrm>
            <a:grpFill/>
          </p:grpSpPr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C71CF50E-749A-0835-23D2-928769651A40}"/>
                  </a:ext>
                </a:extLst>
              </p:cNvPr>
              <p:cNvCxnSpPr/>
              <p:nvPr userDrawn="1"/>
            </p:nvCxnSpPr>
            <p:spPr>
              <a:xfrm>
                <a:off x="798036" y="3060118"/>
                <a:ext cx="110200" cy="9245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B3986CBD-E290-14DB-C222-4CBECE12FB4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885487" y="2976923"/>
                <a:ext cx="130101" cy="182628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7BD0B50-8D97-9AB5-A593-BC25EE77478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7213" y="2647950"/>
            <a:ext cx="3871912" cy="3009900"/>
          </a:xfrm>
        </p:spPr>
        <p:txBody>
          <a:bodyPr>
            <a:noAutofit/>
          </a:bodyPr>
          <a:lstStyle>
            <a:lvl1pPr marL="228600" indent="-228600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9" name="Номер слайда 5">
            <a:extLst>
              <a:ext uri="{FF2B5EF4-FFF2-40B4-BE49-F238E27FC236}">
                <a16:creationId xmlns:a16="http://schemas.microsoft.com/office/drawing/2014/main" id="{29BC5417-019A-A081-FC19-1EA01100C292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algn="r" defTabSz="91430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30C4743-1A62-BBC5-8356-524EC2453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368300"/>
            <a:ext cx="4322762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75938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352C7E-BCE1-47CD-872E-2935DD89FC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34963" y="2103438"/>
            <a:ext cx="5761037" cy="3748087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ru-RU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61759" y="2103120"/>
            <a:ext cx="5395278" cy="374904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74B37B85-8F3B-0F22-329A-B311970F41EE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73D17D-BC08-4737-FE71-3B203F88DA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569887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ictures with Three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>
            <a:extLst>
              <a:ext uri="{FF2B5EF4-FFF2-40B4-BE49-F238E27FC236}">
                <a16:creationId xmlns:a16="http://schemas.microsoft.com/office/drawing/2014/main" id="{29F16048-FF4E-41B1-B3D4-0FB210A70DF2}"/>
              </a:ext>
            </a:extLst>
          </p:cNvPr>
          <p:cNvSpPr/>
          <p:nvPr userDrawn="1"/>
        </p:nvSpPr>
        <p:spPr>
          <a:xfrm>
            <a:off x="5294630" y="0"/>
            <a:ext cx="6897370" cy="6858000"/>
          </a:xfrm>
          <a:custGeom>
            <a:avLst/>
            <a:gdLst/>
            <a:ahLst/>
            <a:cxnLst/>
            <a:rect l="l" t="t" r="r" b="b"/>
            <a:pathLst>
              <a:path w="6897370" h="6858000">
                <a:moveTo>
                  <a:pt x="0" y="6858000"/>
                </a:moveTo>
                <a:lnTo>
                  <a:pt x="6896900" y="6858000"/>
                </a:lnTo>
                <a:lnTo>
                  <a:pt x="68969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endParaRPr lang="en-US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79774D-36EB-4201-B1AC-922DD2E0664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294251" y="1192697"/>
            <a:ext cx="4057961" cy="1431234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Picture Placeholder 28">
            <a:extLst>
              <a:ext uri="{FF2B5EF4-FFF2-40B4-BE49-F238E27FC236}">
                <a16:creationId xmlns:a16="http://schemas.microsoft.com/office/drawing/2014/main" id="{5E78E133-FE09-456A-8463-9EFAC6ADE26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40800" y="2878015"/>
            <a:ext cx="1158888" cy="1158888"/>
          </a:xfrm>
        </p:spPr>
        <p:txBody>
          <a:bodyPr>
            <a:noAutofit/>
          </a:bodyPr>
          <a:lstStyle>
            <a:lvl1pPr marL="0" indent="0" algn="ctr">
              <a:buNone/>
              <a:defRPr sz="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F0C3496-EA4B-43E5-9704-968F80A8552C}"/>
              </a:ext>
            </a:extLst>
          </p:cNvPr>
          <p:cNvSpPr>
            <a:spLocks noGrp="1"/>
          </p:cNvSpPr>
          <p:nvPr>
            <p:ph type="body" sz="half" idx="23"/>
          </p:nvPr>
        </p:nvSpPr>
        <p:spPr>
          <a:xfrm>
            <a:off x="7294250" y="2880357"/>
            <a:ext cx="4057961" cy="1431234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28">
            <a:extLst>
              <a:ext uri="{FF2B5EF4-FFF2-40B4-BE49-F238E27FC236}">
                <a16:creationId xmlns:a16="http://schemas.microsoft.com/office/drawing/2014/main" id="{13414E14-9FEB-40F8-AE6E-319637A8F1C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40800" y="4568018"/>
            <a:ext cx="1158888" cy="1158888"/>
          </a:xfrm>
        </p:spPr>
        <p:txBody>
          <a:bodyPr>
            <a:noAutofit/>
          </a:bodyPr>
          <a:lstStyle>
            <a:lvl1pPr marL="0" indent="0" algn="ctr">
              <a:buNone/>
              <a:defRPr sz="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EC97C88-8B4C-4665-845B-95CE8F237779}"/>
              </a:ext>
            </a:extLst>
          </p:cNvPr>
          <p:cNvSpPr>
            <a:spLocks noGrp="1"/>
          </p:cNvSpPr>
          <p:nvPr>
            <p:ph type="body" sz="half" idx="25"/>
          </p:nvPr>
        </p:nvSpPr>
        <p:spPr>
          <a:xfrm>
            <a:off x="7294250" y="4568018"/>
            <a:ext cx="4057961" cy="1431234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icture Placeholder 28">
            <a:extLst>
              <a:ext uri="{FF2B5EF4-FFF2-40B4-BE49-F238E27FC236}">
                <a16:creationId xmlns:a16="http://schemas.microsoft.com/office/drawing/2014/main" id="{2EB2F967-97B6-4CA8-B3E7-5FF7CA2BDD8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40800" y="1188012"/>
            <a:ext cx="1158888" cy="1158888"/>
          </a:xfrm>
        </p:spPr>
        <p:txBody>
          <a:bodyPr>
            <a:noAutofit/>
          </a:bodyPr>
          <a:lstStyle>
            <a:lvl1pPr marL="0" indent="0" algn="ctr">
              <a:buNone/>
              <a:defRPr sz="4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0DD3086-30B3-5167-0E07-AF1EB87EA8E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23888" y="2647950"/>
            <a:ext cx="3871912" cy="3009900"/>
          </a:xfrm>
        </p:spPr>
        <p:txBody>
          <a:bodyPr>
            <a:noAutofit/>
          </a:bodyPr>
          <a:lstStyle>
            <a:lvl1pPr marL="228600" indent="-228600"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8" name="Номер слайда 5">
            <a:extLst>
              <a:ext uri="{FF2B5EF4-FFF2-40B4-BE49-F238E27FC236}">
                <a16:creationId xmlns:a16="http://schemas.microsoft.com/office/drawing/2014/main" id="{C52A033F-813E-01C6-BFF6-BFB43FC14497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algn="r" defTabSz="91430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5D1988D-5F76-BB22-4ED7-FB109B0F89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368300"/>
            <a:ext cx="4024312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251443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D44B7CE-2038-4CCA-AA8A-D03DE5FD95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857999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bg2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79774D-36EB-4201-B1AC-922DD2E0664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552419" y="1887801"/>
            <a:ext cx="4057961" cy="143123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icture Placeholder 28">
            <a:extLst>
              <a:ext uri="{FF2B5EF4-FFF2-40B4-BE49-F238E27FC236}">
                <a16:creationId xmlns:a16="http://schemas.microsoft.com/office/drawing/2014/main" id="{2EB2F967-97B6-4CA8-B3E7-5FF7CA2BDD8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44273" y="1883115"/>
            <a:ext cx="576000" cy="576000"/>
          </a:xfrm>
        </p:spPr>
        <p:txBody>
          <a:bodyPr>
            <a:noAutofit/>
          </a:bodyPr>
          <a:lstStyle>
            <a:lvl1pPr marL="0" indent="0" algn="ctr">
              <a:buNone/>
              <a:defRPr sz="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28">
            <a:extLst>
              <a:ext uri="{FF2B5EF4-FFF2-40B4-BE49-F238E27FC236}">
                <a16:creationId xmlns:a16="http://schemas.microsoft.com/office/drawing/2014/main" id="{5E78E133-FE09-456A-8463-9EFAC6ADE26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44273" y="3573118"/>
            <a:ext cx="576000" cy="576000"/>
          </a:xfrm>
        </p:spPr>
        <p:txBody>
          <a:bodyPr>
            <a:noAutofit/>
          </a:bodyPr>
          <a:lstStyle>
            <a:lvl1pPr marL="0" indent="0" algn="ctr">
              <a:buNone/>
              <a:defRPr sz="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F0C3496-EA4B-43E5-9704-968F80A8552C}"/>
              </a:ext>
            </a:extLst>
          </p:cNvPr>
          <p:cNvSpPr>
            <a:spLocks noGrp="1"/>
          </p:cNvSpPr>
          <p:nvPr>
            <p:ph type="body" sz="half" idx="23"/>
          </p:nvPr>
        </p:nvSpPr>
        <p:spPr>
          <a:xfrm>
            <a:off x="1552418" y="3575461"/>
            <a:ext cx="4057961" cy="143123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 28">
            <a:extLst>
              <a:ext uri="{FF2B5EF4-FFF2-40B4-BE49-F238E27FC236}">
                <a16:creationId xmlns:a16="http://schemas.microsoft.com/office/drawing/2014/main" id="{13414E14-9FEB-40F8-AE6E-319637A8F1C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44273" y="5263121"/>
            <a:ext cx="576000" cy="576000"/>
          </a:xfrm>
        </p:spPr>
        <p:txBody>
          <a:bodyPr>
            <a:noAutofit/>
          </a:bodyPr>
          <a:lstStyle>
            <a:lvl1pPr marL="0" indent="0" algn="ctr">
              <a:buNone/>
              <a:defRPr sz="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EC97C88-8B4C-4665-845B-95CE8F237779}"/>
              </a:ext>
            </a:extLst>
          </p:cNvPr>
          <p:cNvSpPr>
            <a:spLocks noGrp="1"/>
          </p:cNvSpPr>
          <p:nvPr>
            <p:ph type="body" sz="half" idx="25"/>
          </p:nvPr>
        </p:nvSpPr>
        <p:spPr>
          <a:xfrm>
            <a:off x="1552418" y="5263122"/>
            <a:ext cx="4057961" cy="77572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E39D6D44-F0B3-14DF-594B-DFE680F27A0E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A971A86-E923-C0F7-2D9C-7A64DFA10A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4273" y="368300"/>
            <a:ext cx="5251727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373698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D44B7CE-2038-4CCA-AA8A-D03DE5FD95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096000" y="0"/>
            <a:ext cx="6096000" cy="6857999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bg2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79774D-36EB-4201-B1AC-922DD2E0664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552419" y="1887801"/>
            <a:ext cx="4057961" cy="143123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Picture Placeholder 28">
            <a:extLst>
              <a:ext uri="{FF2B5EF4-FFF2-40B4-BE49-F238E27FC236}">
                <a16:creationId xmlns:a16="http://schemas.microsoft.com/office/drawing/2014/main" id="{2EB2F967-97B6-4CA8-B3E7-5FF7CA2BDD8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44273" y="1883115"/>
            <a:ext cx="576000" cy="576000"/>
          </a:xfrm>
        </p:spPr>
        <p:txBody>
          <a:bodyPr>
            <a:noAutofit/>
          </a:bodyPr>
          <a:lstStyle>
            <a:lvl1pPr marL="0" indent="0" algn="ctr">
              <a:buNone/>
              <a:defRPr sz="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28">
            <a:extLst>
              <a:ext uri="{FF2B5EF4-FFF2-40B4-BE49-F238E27FC236}">
                <a16:creationId xmlns:a16="http://schemas.microsoft.com/office/drawing/2014/main" id="{5E78E133-FE09-456A-8463-9EFAC6ADE26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44273" y="3573118"/>
            <a:ext cx="576000" cy="576000"/>
          </a:xfrm>
        </p:spPr>
        <p:txBody>
          <a:bodyPr>
            <a:noAutofit/>
          </a:bodyPr>
          <a:lstStyle>
            <a:lvl1pPr marL="0" indent="0" algn="ctr">
              <a:buNone/>
              <a:defRPr sz="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F0C3496-EA4B-43E5-9704-968F80A8552C}"/>
              </a:ext>
            </a:extLst>
          </p:cNvPr>
          <p:cNvSpPr>
            <a:spLocks noGrp="1"/>
          </p:cNvSpPr>
          <p:nvPr>
            <p:ph type="body" sz="half" idx="23"/>
          </p:nvPr>
        </p:nvSpPr>
        <p:spPr>
          <a:xfrm>
            <a:off x="1552418" y="3575461"/>
            <a:ext cx="4057961" cy="143123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28">
            <a:extLst>
              <a:ext uri="{FF2B5EF4-FFF2-40B4-BE49-F238E27FC236}">
                <a16:creationId xmlns:a16="http://schemas.microsoft.com/office/drawing/2014/main" id="{13414E14-9FEB-40F8-AE6E-319637A8F1C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44273" y="5263121"/>
            <a:ext cx="576000" cy="576000"/>
          </a:xfrm>
        </p:spPr>
        <p:txBody>
          <a:bodyPr>
            <a:noAutofit/>
          </a:bodyPr>
          <a:lstStyle>
            <a:lvl1pPr marL="0" indent="0" algn="ctr">
              <a:buNone/>
              <a:defRPr sz="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EC97C88-8B4C-4665-845B-95CE8F237779}"/>
              </a:ext>
            </a:extLst>
          </p:cNvPr>
          <p:cNvSpPr>
            <a:spLocks noGrp="1"/>
          </p:cNvSpPr>
          <p:nvPr>
            <p:ph type="body" sz="half" idx="25"/>
          </p:nvPr>
        </p:nvSpPr>
        <p:spPr>
          <a:xfrm>
            <a:off x="1552418" y="5263122"/>
            <a:ext cx="4057961" cy="77572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6F2E038D-2D6B-261C-715D-914779A6CED8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4ABE5DC-FC03-9DC0-3133-15ECC5D5BB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4274" y="368300"/>
            <a:ext cx="4766106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806100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icture with Three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>
            <a:extLst>
              <a:ext uri="{FF2B5EF4-FFF2-40B4-BE49-F238E27FC236}">
                <a16:creationId xmlns:a16="http://schemas.microsoft.com/office/drawing/2014/main" id="{29F16048-FF4E-41B1-B3D4-0FB210A70DF2}"/>
              </a:ext>
            </a:extLst>
          </p:cNvPr>
          <p:cNvSpPr/>
          <p:nvPr userDrawn="1"/>
        </p:nvSpPr>
        <p:spPr>
          <a:xfrm>
            <a:off x="5294630" y="0"/>
            <a:ext cx="6897370" cy="6858000"/>
          </a:xfrm>
          <a:custGeom>
            <a:avLst/>
            <a:gdLst/>
            <a:ahLst/>
            <a:cxnLst/>
            <a:rect l="l" t="t" r="r" b="b"/>
            <a:pathLst>
              <a:path w="6897370" h="6858000">
                <a:moveTo>
                  <a:pt x="0" y="6858000"/>
                </a:moveTo>
                <a:lnTo>
                  <a:pt x="6896900" y="6858000"/>
                </a:lnTo>
                <a:lnTo>
                  <a:pt x="68969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rtlCol="0">
            <a:noAutofit/>
          </a:bodyPr>
          <a:lstStyle/>
          <a:p>
            <a:endParaRPr lang="en-US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79774D-36EB-4201-B1AC-922DD2E0664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294251" y="1192697"/>
            <a:ext cx="4057961" cy="1431234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object 2">
            <a:extLst>
              <a:ext uri="{FF2B5EF4-FFF2-40B4-BE49-F238E27FC236}">
                <a16:creationId xmlns:a16="http://schemas.microsoft.com/office/drawing/2014/main" id="{9337951D-6DB6-4713-9200-E8513CDEB6B3}"/>
              </a:ext>
            </a:extLst>
          </p:cNvPr>
          <p:cNvSpPr/>
          <p:nvPr userDrawn="1"/>
        </p:nvSpPr>
        <p:spPr>
          <a:xfrm>
            <a:off x="0" y="2430411"/>
            <a:ext cx="3625850" cy="3438525"/>
          </a:xfrm>
          <a:custGeom>
            <a:avLst/>
            <a:gdLst/>
            <a:ahLst/>
            <a:cxnLst/>
            <a:rect l="l" t="t" r="r" b="b"/>
            <a:pathLst>
              <a:path w="3625850" h="3438525">
                <a:moveTo>
                  <a:pt x="0" y="3438486"/>
                </a:moveTo>
                <a:lnTo>
                  <a:pt x="3625596" y="3438486"/>
                </a:lnTo>
                <a:lnTo>
                  <a:pt x="3625596" y="0"/>
                </a:lnTo>
                <a:lnTo>
                  <a:pt x="0" y="0"/>
                </a:lnTo>
                <a:lnTo>
                  <a:pt x="0" y="3438486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endParaRPr lang="en-US" noProof="0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D44B7CE-2038-4CCA-AA8A-D03DE5FD95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2781223"/>
            <a:ext cx="6040800" cy="2736901"/>
          </a:xfrm>
        </p:spPr>
        <p:txBody>
          <a:bodyPr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28">
            <a:extLst>
              <a:ext uri="{FF2B5EF4-FFF2-40B4-BE49-F238E27FC236}">
                <a16:creationId xmlns:a16="http://schemas.microsoft.com/office/drawing/2014/main" id="{2EB2F967-97B6-4CA8-B3E7-5FF7CA2BDD8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586106" y="1188012"/>
            <a:ext cx="376237" cy="376237"/>
          </a:xfrm>
        </p:spPr>
        <p:txBody>
          <a:bodyPr>
            <a:noAutofit/>
          </a:bodyPr>
          <a:lstStyle>
            <a:lvl1pPr marL="0" indent="0" algn="ctr">
              <a:buNone/>
              <a:defRPr sz="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28">
            <a:extLst>
              <a:ext uri="{FF2B5EF4-FFF2-40B4-BE49-F238E27FC236}">
                <a16:creationId xmlns:a16="http://schemas.microsoft.com/office/drawing/2014/main" id="{5E78E133-FE09-456A-8463-9EFAC6ADE26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586106" y="2878015"/>
            <a:ext cx="376237" cy="376237"/>
          </a:xfrm>
        </p:spPr>
        <p:txBody>
          <a:bodyPr>
            <a:noAutofit/>
          </a:bodyPr>
          <a:lstStyle>
            <a:lvl1pPr marL="0" indent="0" algn="ctr">
              <a:buNone/>
              <a:defRPr sz="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F0C3496-EA4B-43E5-9704-968F80A8552C}"/>
              </a:ext>
            </a:extLst>
          </p:cNvPr>
          <p:cNvSpPr>
            <a:spLocks noGrp="1"/>
          </p:cNvSpPr>
          <p:nvPr>
            <p:ph type="body" sz="half" idx="23"/>
          </p:nvPr>
        </p:nvSpPr>
        <p:spPr>
          <a:xfrm>
            <a:off x="7294250" y="2880357"/>
            <a:ext cx="4057961" cy="1431234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 28">
            <a:extLst>
              <a:ext uri="{FF2B5EF4-FFF2-40B4-BE49-F238E27FC236}">
                <a16:creationId xmlns:a16="http://schemas.microsoft.com/office/drawing/2014/main" id="{13414E14-9FEB-40F8-AE6E-319637A8F1C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586106" y="4568018"/>
            <a:ext cx="376237" cy="376237"/>
          </a:xfrm>
        </p:spPr>
        <p:txBody>
          <a:bodyPr>
            <a:noAutofit/>
          </a:bodyPr>
          <a:lstStyle>
            <a:lvl1pPr marL="0" indent="0" algn="ctr">
              <a:buNone/>
              <a:defRPr sz="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EC97C88-8B4C-4665-845B-95CE8F237779}"/>
              </a:ext>
            </a:extLst>
          </p:cNvPr>
          <p:cNvSpPr>
            <a:spLocks noGrp="1"/>
          </p:cNvSpPr>
          <p:nvPr>
            <p:ph type="body" sz="half" idx="25"/>
          </p:nvPr>
        </p:nvSpPr>
        <p:spPr>
          <a:xfrm>
            <a:off x="7294250" y="4568018"/>
            <a:ext cx="4057961" cy="1431234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Номер слайда 5">
            <a:extLst>
              <a:ext uri="{FF2B5EF4-FFF2-40B4-BE49-F238E27FC236}">
                <a16:creationId xmlns:a16="http://schemas.microsoft.com/office/drawing/2014/main" id="{13688590-5C33-8183-8042-4E0C6F21FC2B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2494A0E-A380-E920-1CE9-D3DCE9EC2D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7750" y="368300"/>
            <a:ext cx="5048250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70346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6" descr="Blue rectangle">
            <a:extLst>
              <a:ext uri="{FF2B5EF4-FFF2-40B4-BE49-F238E27FC236}">
                <a16:creationId xmlns:a16="http://schemas.microsoft.com/office/drawing/2014/main" id="{91CF20F5-9393-470D-8112-456F351FADBE}"/>
              </a:ext>
            </a:extLst>
          </p:cNvPr>
          <p:cNvSpPr/>
          <p:nvPr userDrawn="1"/>
        </p:nvSpPr>
        <p:spPr>
          <a:xfrm>
            <a:off x="6226175" y="1"/>
            <a:ext cx="5965825" cy="6857999"/>
          </a:xfrm>
          <a:custGeom>
            <a:avLst/>
            <a:gdLst/>
            <a:ahLst/>
            <a:cxnLst/>
            <a:rect l="l" t="t" r="r" b="b"/>
            <a:pathLst>
              <a:path w="6689725" h="3528060">
                <a:moveTo>
                  <a:pt x="0" y="3527996"/>
                </a:moveTo>
                <a:lnTo>
                  <a:pt x="6689648" y="3527996"/>
                </a:lnTo>
                <a:lnTo>
                  <a:pt x="6689648" y="0"/>
                </a:lnTo>
                <a:lnTo>
                  <a:pt x="0" y="0"/>
                </a:lnTo>
                <a:lnTo>
                  <a:pt x="0" y="352799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7D7CE69-C1EE-44B8-9CC8-42D4422D0C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86601" y="2926641"/>
            <a:ext cx="4105274" cy="739775"/>
          </a:xfrm>
        </p:spPr>
        <p:txBody>
          <a:bodyPr>
            <a:noAutofit/>
          </a:bodyPr>
          <a:lstStyle>
            <a:lvl1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ru-RU" sz="2000" b="1" kern="1200" dirty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ru-RU" dirty="0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373422E7-009F-49CA-B542-89B2459CF64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86601" y="3777412"/>
            <a:ext cx="4105274" cy="739775"/>
          </a:xfrm>
        </p:spPr>
        <p:txBody>
          <a:bodyPr>
            <a:noAutofit/>
          </a:bodyPr>
          <a:lstStyle>
            <a:lvl1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ru-RU" sz="2000" b="1" kern="1200" dirty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ru-RU" dirty="0"/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EB6916E9-8F10-48D0-A6B9-CB229C4B049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86601" y="4704261"/>
            <a:ext cx="4105274" cy="739775"/>
          </a:xfrm>
        </p:spPr>
        <p:txBody>
          <a:bodyPr>
            <a:noAutofit/>
          </a:bodyPr>
          <a:lstStyle>
            <a:lvl1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2000" b="1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ru-RU" sz="2000" b="1" kern="1200" dirty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ru-RU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30BC4F6-40BE-5122-D49F-5C0FE4D098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226175" cy="6858000"/>
          </a:xfrm>
        </p:spPr>
        <p:txBody>
          <a:bodyPr>
            <a:noAutofit/>
          </a:bodyPr>
          <a:lstStyle/>
          <a:p>
            <a:endParaRPr lang="ru-RU"/>
          </a:p>
        </p:txBody>
      </p:sp>
      <p:sp>
        <p:nvSpPr>
          <p:cNvPr id="13" name="Номер слайда 5">
            <a:extLst>
              <a:ext uri="{FF2B5EF4-FFF2-40B4-BE49-F238E27FC236}">
                <a16:creationId xmlns:a16="http://schemas.microsoft.com/office/drawing/2014/main" id="{639E1782-0218-320F-7B98-BBDE123A3123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algn="r" defTabSz="91430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46FEB35-98D4-3E2C-D4EA-868182610C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4276" y="1277726"/>
            <a:ext cx="3581400" cy="7397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640335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4F70AE1-0373-4B8E-9C6F-A87681145315}"/>
              </a:ext>
            </a:extLst>
          </p:cNvPr>
          <p:cNvSpPr>
            <a:spLocks noChangeAspect="1"/>
          </p:cNvSpPr>
          <p:nvPr userDrawn="1"/>
        </p:nvSpPr>
        <p:spPr>
          <a:xfrm>
            <a:off x="334964" y="5014973"/>
            <a:ext cx="11522074" cy="12747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01EE411-05BB-43B4-BF85-4222430030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4" y="368300"/>
            <a:ext cx="11522074" cy="4437700"/>
          </a:xfrm>
        </p:spPr>
        <p:txBody>
          <a:bodyPr anchor="ctr">
            <a:noAutofit/>
          </a:bodyPr>
          <a:lstStyle>
            <a:lvl1pPr>
              <a:defRPr sz="2000">
                <a:solidFill>
                  <a:srgbClr val="000000"/>
                </a:solidFill>
              </a:defRPr>
            </a:lvl1pPr>
            <a:lvl2pPr>
              <a:defRPr sz="1800">
                <a:solidFill>
                  <a:srgbClr val="000000"/>
                </a:solidFill>
              </a:defRPr>
            </a:lvl2pPr>
            <a:lvl3pPr>
              <a:defRPr sz="1600">
                <a:solidFill>
                  <a:srgbClr val="000000"/>
                </a:solidFill>
              </a:defRPr>
            </a:lvl3pPr>
            <a:lvl4pPr>
              <a:defRPr sz="1400">
                <a:solidFill>
                  <a:srgbClr val="000000"/>
                </a:solidFill>
              </a:defRPr>
            </a:lvl4pPr>
            <a:lvl5pPr>
              <a:defRPr sz="1400">
                <a:solidFill>
                  <a:srgbClr val="000000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 sz="1400">
                <a:solidFill>
                  <a:schemeClr val="tx2"/>
                </a:solidFill>
              </a:defRPr>
            </a:lvl8pPr>
            <a:lvl9pPr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C2A48C1-57D3-4A3D-B843-6ACC41EEE8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740823" y="5135296"/>
            <a:ext cx="5869987" cy="689515"/>
          </a:xfrm>
        </p:spPr>
        <p:txBody>
          <a:bodyPr anchor="ctr">
            <a:noAutofit/>
          </a:bodyPr>
          <a:lstStyle>
            <a:lvl1pPr marL="0" indent="0" algn="r"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61CDDAC-8235-4C26-1548-922885B5A587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bg1"/>
                </a:solidFill>
              </a:rPr>
              <a:t>Школа </a:t>
            </a:r>
            <a:r>
              <a:rPr lang="ru-RU" dirty="0" err="1">
                <a:solidFill>
                  <a:schemeClr val="bg1"/>
                </a:solidFill>
              </a:rPr>
              <a:t>Летово</a:t>
            </a:r>
            <a:r>
              <a:rPr lang="en-US" dirty="0">
                <a:solidFill>
                  <a:schemeClr val="bg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bg1"/>
                </a:solidFill>
              </a:rPr>
              <a:pPr algn="r" defTabSz="914300"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BEF832-EB37-825E-7406-1AEFBDE756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191" y="5135296"/>
            <a:ext cx="4809960" cy="689515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136341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BFB384F3-9D7F-13AD-4830-C6B1A2F9CC25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tx1"/>
                </a:solidFill>
              </a:rPr>
              <a:t>Школа </a:t>
            </a:r>
            <a:r>
              <a:rPr lang="ru-RU" dirty="0" err="1">
                <a:solidFill>
                  <a:schemeClr val="tx1"/>
                </a:solidFill>
              </a:rPr>
              <a:t>Летово</a:t>
            </a:r>
            <a:r>
              <a:rPr lang="en-US" dirty="0">
                <a:solidFill>
                  <a:schemeClr val="tx1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tx1"/>
                </a:solidFill>
              </a:rPr>
              <a:pPr algn="r" defTabSz="914300"/>
              <a:t>‹#›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A7247E0-CFB1-82D2-BE85-99A53C6D5F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094086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конки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1900A41-14B8-6646-BABA-92F14367E6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4488" y="974307"/>
            <a:ext cx="11253162" cy="4809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20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Иконки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8CC6014-F257-98E4-D4FC-5691850E56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60600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657481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525">
          <p15:clr>
            <a:srgbClr val="FBAE40"/>
          </p15:clr>
        </p15:guide>
        <p15:guide id="3" pos="2751">
          <p15:clr>
            <a:srgbClr val="FBAE40"/>
          </p15:clr>
        </p15:guide>
        <p15:guide id="4" pos="49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ED7E8186-3D51-5876-94D0-F094FE5577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368300"/>
            <a:ext cx="11243637" cy="91599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ru-RU" sz="2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ru-RU" dirty="0"/>
          </a:p>
        </p:txBody>
      </p:sp>
      <p:sp>
        <p:nvSpPr>
          <p:cNvPr id="4" name="Подзаголовок 2">
            <a:extLst>
              <a:ext uri="{FF2B5EF4-FFF2-40B4-BE49-F238E27FC236}">
                <a16:creationId xmlns:a16="http://schemas.microsoft.com/office/drawing/2014/main" id="{46A9E94E-2298-3095-B9D6-4D6293D1AA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9485" y="1284291"/>
            <a:ext cx="11229115" cy="93638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5" name="Рисунок 9">
            <a:extLst>
              <a:ext uri="{FF2B5EF4-FFF2-40B4-BE49-F238E27FC236}">
                <a16:creationId xmlns:a16="http://schemas.microsoft.com/office/drawing/2014/main" id="{49A620BC-EF61-AD17-FCBE-2751E4667E8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8326" y="2469102"/>
            <a:ext cx="3420000" cy="252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Рисунок 9">
            <a:extLst>
              <a:ext uri="{FF2B5EF4-FFF2-40B4-BE49-F238E27FC236}">
                <a16:creationId xmlns:a16="http://schemas.microsoft.com/office/drawing/2014/main" id="{354AFF29-9A25-40F5-18B9-8797DD6D267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74184" y="2469102"/>
            <a:ext cx="3420000" cy="252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7" name="Рисунок 9">
            <a:extLst>
              <a:ext uri="{FF2B5EF4-FFF2-40B4-BE49-F238E27FC236}">
                <a16:creationId xmlns:a16="http://schemas.microsoft.com/office/drawing/2014/main" id="{F4C557F1-D51E-B147-9521-B9E376DA894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80871" y="2469102"/>
            <a:ext cx="3420000" cy="252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8" name="Дата 3">
            <a:extLst>
              <a:ext uri="{FF2B5EF4-FFF2-40B4-BE49-F238E27FC236}">
                <a16:creationId xmlns:a16="http://schemas.microsoft.com/office/drawing/2014/main" id="{46856762-90AD-3AC6-313A-F4A4139739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65107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defTabSz="914300">
              <a:defRPr/>
            </a:pPr>
            <a:endParaRPr lang="ru-RU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6A128FC-143E-FF72-1D35-2EEAC7D483E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65425" y="5094288"/>
            <a:ext cx="3420001" cy="325677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554324A-25E9-1308-2C3D-643BC82E8BF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67213" y="5082261"/>
            <a:ext cx="3426967" cy="325677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2CF20A1-FB8B-900B-977B-EC74BF8557A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77384" y="5089524"/>
            <a:ext cx="3426967" cy="325677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2" name="Номер слайда 5">
            <a:extLst>
              <a:ext uri="{FF2B5EF4-FFF2-40B4-BE49-F238E27FC236}">
                <a16:creationId xmlns:a16="http://schemas.microsoft.com/office/drawing/2014/main" id="{2D09D979-A423-1BF3-3B49-4473F3A73A42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23042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дзаголовок 2">
            <a:extLst>
              <a:ext uri="{FF2B5EF4-FFF2-40B4-BE49-F238E27FC236}">
                <a16:creationId xmlns:a16="http://schemas.microsoft.com/office/drawing/2014/main" id="{B2285971-C287-9E16-8E07-F743B823378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963" y="1164807"/>
            <a:ext cx="11243637" cy="480969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 слайда</a:t>
            </a:r>
          </a:p>
        </p:txBody>
      </p:sp>
      <p:sp>
        <p:nvSpPr>
          <p:cNvPr id="5" name="Рисунок 9">
            <a:extLst>
              <a:ext uri="{FF2B5EF4-FFF2-40B4-BE49-F238E27FC236}">
                <a16:creationId xmlns:a16="http://schemas.microsoft.com/office/drawing/2014/main" id="{60E75A55-C50A-571F-9656-A14A82AC82C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8801" y="1668637"/>
            <a:ext cx="3420000" cy="252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Рисунок 9">
            <a:extLst>
              <a:ext uri="{FF2B5EF4-FFF2-40B4-BE49-F238E27FC236}">
                <a16:creationId xmlns:a16="http://schemas.microsoft.com/office/drawing/2014/main" id="{B0CFE348-B1AC-20AD-05AD-31B22043846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45609" y="1668637"/>
            <a:ext cx="3420000" cy="252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7" name="Рисунок 9">
            <a:extLst>
              <a:ext uri="{FF2B5EF4-FFF2-40B4-BE49-F238E27FC236}">
                <a16:creationId xmlns:a16="http://schemas.microsoft.com/office/drawing/2014/main" id="{E5EB08E5-1CE5-F120-34C8-74D727357CD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52296" y="1668637"/>
            <a:ext cx="3420000" cy="252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8" name="Дата 3">
            <a:extLst>
              <a:ext uri="{FF2B5EF4-FFF2-40B4-BE49-F238E27FC236}">
                <a16:creationId xmlns:a16="http://schemas.microsoft.com/office/drawing/2014/main" id="{ED498019-96FC-D745-34F4-233E13CC45F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65107" y="6356351"/>
            <a:ext cx="8670948" cy="36512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defTabSz="914300">
              <a:defRPr/>
            </a:pPr>
            <a:endParaRPr lang="ru-RU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3836DA8-0274-0F7F-5881-DF0AF8D3591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58801" y="4263111"/>
            <a:ext cx="3420001" cy="32567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E0DF786-18D1-90FE-E1D6-A6BB23E66CC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8638" y="4263111"/>
            <a:ext cx="3426967" cy="32567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3A4E3FE-C406-B59B-462D-7FE7332D649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48809" y="4263111"/>
            <a:ext cx="3426967" cy="32567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566D977A-16A3-4C08-1FF3-C250FD830BF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45609" y="4663262"/>
            <a:ext cx="3432175" cy="1504176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ru-RU" sz="1400" dirty="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endParaRPr lang="en-US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31D441C5-52AA-EEE1-E252-EFD46331636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54988" y="4658500"/>
            <a:ext cx="3432175" cy="1504176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ru-RU" sz="1400" dirty="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390D080-975C-96B1-10F0-13597A706BC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8801" y="4658500"/>
            <a:ext cx="3420001" cy="1504176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000000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9144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endParaRPr lang="en-US" dirty="0"/>
          </a:p>
          <a:p>
            <a:pPr lvl="0"/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15" name="Номер слайда 5">
            <a:extLst>
              <a:ext uri="{FF2B5EF4-FFF2-40B4-BE49-F238E27FC236}">
                <a16:creationId xmlns:a16="http://schemas.microsoft.com/office/drawing/2014/main" id="{5490AD22-FB76-D800-281C-7B8047D8F7DD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677C3D-E989-6FF2-92CF-DE507C9FD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27537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842E67-35F4-4EC2-B5B4-6D02111EDAD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561044" y="368300"/>
            <a:ext cx="3562036" cy="5940424"/>
          </a:xfrm>
          <a:solidFill>
            <a:schemeClr val="bg1"/>
          </a:solidFill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6553049D-F1F2-4E3C-B0A3-D2BCB35B18A8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8293226" y="368300"/>
            <a:ext cx="3557461" cy="5940424"/>
          </a:xfrm>
          <a:solidFill>
            <a:schemeClr val="bg1"/>
          </a:solidFill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AC935A1-3DFF-457D-8C70-E337C3D84F5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41313" y="2057399"/>
            <a:ext cx="3598550" cy="4251325"/>
          </a:xfrm>
        </p:spPr>
        <p:txBody>
          <a:bodyPr>
            <a:noAutofit/>
          </a:bodyPr>
          <a:lstStyle>
            <a:lvl1pPr marL="216000" indent="-216000">
              <a:lnSpc>
                <a:spcPct val="90000"/>
              </a:lnSpc>
              <a:buFont typeface="Wingdings" panose="05000000000000000000" pitchFamily="2" charset="2"/>
              <a:buChar char="§"/>
              <a:defRPr sz="1600">
                <a:solidFill>
                  <a:srgbClr val="000000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88F5409-7862-87BC-E794-7C65F8CA4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3598551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CA385D84-B536-D246-93B0-5B51EDBCCC79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054624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 with Captio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842E67-35F4-4EC2-B5B4-6D02111EDAD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34963" y="368300"/>
            <a:ext cx="3564000" cy="5940425"/>
          </a:xfrm>
          <a:solidFill>
            <a:schemeClr val="bg1"/>
          </a:solidFill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6553049D-F1F2-4E3C-B0A3-D2BCB35B18A8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8293037" y="368298"/>
            <a:ext cx="3564000" cy="5940426"/>
          </a:xfrm>
          <a:solidFill>
            <a:schemeClr val="bg1"/>
          </a:solidFill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8C645043-BE6A-4D32-ACA9-AB593DA6BC9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292599" y="2057399"/>
            <a:ext cx="3643314" cy="4251325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0060891-0D1E-57C5-FB42-460A00865399}"/>
              </a:ext>
            </a:extLst>
          </p:cNvPr>
          <p:cNvSpPr txBox="1">
            <a:spLocks/>
          </p:cNvSpPr>
          <p:nvPr userDrawn="1"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algn="r" defTabSz="914300">
              <a:defRPr sz="1000" b="0" i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dirty="0"/>
              <a:t>Школа </a:t>
            </a:r>
            <a:r>
              <a:rPr lang="ru-RU" dirty="0" err="1"/>
              <a:t>Летово</a:t>
            </a:r>
            <a:r>
              <a:rPr lang="en-US" dirty="0"/>
              <a:t>   |   </a:t>
            </a:r>
            <a:fld id="{3FF7ECCA-52A6-EE4C-AA7E-82FCFCDACFE6}" type="slidenum">
              <a:rPr lang="ru-RU" smtClean="0"/>
              <a:pPr lvl="0"/>
              <a:t>‹#›</a:t>
            </a:fld>
            <a:endParaRPr lang="ru-RU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2B6AEA9-EBF0-44F9-4232-DD9EE4C920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2976" y="368300"/>
            <a:ext cx="3182938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53189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61" Type="http://schemas.openxmlformats.org/officeDocument/2006/relationships/image" Target="../media/image1.emf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ags" Target="../tags/tag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6789CAAE-0AE0-0344-9A87-E4A9F176F5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9"/>
            </p:custDataLst>
            <p:extLst>
              <p:ext uri="{D42A27DB-BD31-4B8C-83A1-F6EECF244321}">
                <p14:modId xmlns:p14="http://schemas.microsoft.com/office/powerpoint/2010/main" val="1434357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60" imgW="416" imgH="416" progId="TCLayout.ActiveDocument.1">
                  <p:embed/>
                </p:oleObj>
              </mc:Choice>
              <mc:Fallback>
                <p:oleObj name="Слайд think-cell" r:id="rId60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DD4DDF8-10FD-5C47-B487-C516D7C60C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8985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550A91-DE18-2C4D-9126-F39D7913C6B4}"/>
              </a:ext>
            </a:extLst>
          </p:cNvPr>
          <p:cNvSpPr txBox="1"/>
          <p:nvPr userDrawn="1"/>
        </p:nvSpPr>
        <p:spPr>
          <a:xfrm>
            <a:off x="-1693332" y="541868"/>
            <a:ext cx="184731" cy="37503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B4E6D6-CE54-36C8-458B-E144497C7D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2" y="1600200"/>
            <a:ext cx="11522076" cy="45767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509990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09" r:id="rId1"/>
    <p:sldLayoutId id="2147483883" r:id="rId2"/>
    <p:sldLayoutId id="2147483852" r:id="rId3"/>
    <p:sldLayoutId id="2147483796" r:id="rId4"/>
    <p:sldLayoutId id="2147483879" r:id="rId5"/>
    <p:sldLayoutId id="2147483873" r:id="rId6"/>
    <p:sldLayoutId id="2147483874" r:id="rId7"/>
    <p:sldLayoutId id="2147483693" r:id="rId8"/>
    <p:sldLayoutId id="2147483694" r:id="rId9"/>
    <p:sldLayoutId id="2147483695" r:id="rId10"/>
    <p:sldLayoutId id="2147483861" r:id="rId11"/>
    <p:sldLayoutId id="2147483884" r:id="rId12"/>
    <p:sldLayoutId id="2147483875" r:id="rId13"/>
    <p:sldLayoutId id="2147483819" r:id="rId14"/>
    <p:sldLayoutId id="2147483820" r:id="rId15"/>
    <p:sldLayoutId id="2147483815" r:id="rId16"/>
    <p:sldLayoutId id="2147483816" r:id="rId17"/>
    <p:sldLayoutId id="2147483817" r:id="rId18"/>
    <p:sldLayoutId id="2147483818" r:id="rId19"/>
    <p:sldLayoutId id="2147483821" r:id="rId20"/>
    <p:sldLayoutId id="2147483822" r:id="rId21"/>
    <p:sldLayoutId id="2147483823" r:id="rId22"/>
    <p:sldLayoutId id="2147483824" r:id="rId23"/>
    <p:sldLayoutId id="2147483855" r:id="rId24"/>
    <p:sldLayoutId id="2147483840" r:id="rId25"/>
    <p:sldLayoutId id="2147483825" r:id="rId26"/>
    <p:sldLayoutId id="2147483826" r:id="rId27"/>
    <p:sldLayoutId id="2147483872" r:id="rId28"/>
    <p:sldLayoutId id="2147483851" r:id="rId29"/>
    <p:sldLayoutId id="2147483827" r:id="rId30"/>
    <p:sldLayoutId id="2147483828" r:id="rId31"/>
    <p:sldLayoutId id="2147483829" r:id="rId32"/>
    <p:sldLayoutId id="2147483830" r:id="rId33"/>
    <p:sldLayoutId id="2147483831" r:id="rId34"/>
    <p:sldLayoutId id="2147483885" r:id="rId35"/>
    <p:sldLayoutId id="2147483832" r:id="rId36"/>
    <p:sldLayoutId id="2147483833" r:id="rId37"/>
    <p:sldLayoutId id="2147483834" r:id="rId38"/>
    <p:sldLayoutId id="2147483835" r:id="rId39"/>
    <p:sldLayoutId id="2147483881" r:id="rId40"/>
    <p:sldLayoutId id="2147483836" r:id="rId41"/>
    <p:sldLayoutId id="2147483837" r:id="rId42"/>
    <p:sldLayoutId id="2147483882" r:id="rId43"/>
    <p:sldLayoutId id="2147483856" r:id="rId44"/>
    <p:sldLayoutId id="2147483865" r:id="rId45"/>
    <p:sldLayoutId id="2147483841" r:id="rId46"/>
    <p:sldLayoutId id="2147483859" r:id="rId47"/>
    <p:sldLayoutId id="2147483860" r:id="rId48"/>
    <p:sldLayoutId id="2147483862" r:id="rId49"/>
    <p:sldLayoutId id="2147483863" r:id="rId50"/>
    <p:sldLayoutId id="2147483804" r:id="rId51"/>
    <p:sldLayoutId id="2147483659" r:id="rId52"/>
    <p:sldLayoutId id="2147483806" r:id="rId53"/>
    <p:sldLayoutId id="2147483773" r:id="rId54"/>
    <p:sldLayoutId id="2147483691" r:id="rId55"/>
    <p:sldLayoutId id="2147483793" r:id="rId56"/>
    <p:sldLayoutId id="2147483876" r:id="rId57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200" b="1" i="0" kern="0" baseline="0">
          <a:solidFill>
            <a:schemeClr val="bg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361950" indent="-36195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108000"/>
        <a:buFont typeface="Wingdings 2" panose="05020102010507070707" pitchFamily="18" charset="2"/>
        <a:buChar char=""/>
        <a:defRPr sz="2000" kern="0" baseline="0">
          <a:solidFill>
            <a:srgbClr val="000000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SzPct val="100000"/>
        <a:buFont typeface="Wide Latin" panose="020A0A07050505020404" pitchFamily="18" charset="0"/>
        <a:buChar char="-"/>
        <a:defRPr sz="2000" kern="0" baseline="0">
          <a:solidFill>
            <a:srgbClr val="000000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de Latin" panose="020A0A07050505020404" pitchFamily="18" charset="0"/>
        <a:buChar char="-"/>
        <a:defRPr sz="1800" kern="0" baseline="0">
          <a:solidFill>
            <a:srgbClr val="000000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0" baseline="0">
          <a:solidFill>
            <a:srgbClr val="000000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0" baseline="0">
          <a:solidFill>
            <a:srgbClr val="000000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 userDrawn="1">
          <p15:clr>
            <a:srgbClr val="F26B43"/>
          </p15:clr>
        </p15:guide>
        <p15:guide id="2" pos="7469" userDrawn="1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0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0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9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0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6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9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4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7" Type="http://schemas.openxmlformats.org/officeDocument/2006/relationships/chart" Target="../charts/chart19.xml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5.xml"/><Relationship Id="rId6" Type="http://schemas.openxmlformats.org/officeDocument/2006/relationships/chart" Target="../charts/chart18.xml"/><Relationship Id="rId5" Type="http://schemas.openxmlformats.org/officeDocument/2006/relationships/chart" Target="../charts/chart17.xml"/><Relationship Id="rId4" Type="http://schemas.openxmlformats.org/officeDocument/2006/relationships/chart" Target="../charts/chart16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5.xml"/><Relationship Id="rId3" Type="http://schemas.openxmlformats.org/officeDocument/2006/relationships/chart" Target="../charts/chart20.xml"/><Relationship Id="rId7" Type="http://schemas.openxmlformats.org/officeDocument/2006/relationships/chart" Target="../charts/chart24.xm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45.xml"/><Relationship Id="rId6" Type="http://schemas.openxmlformats.org/officeDocument/2006/relationships/chart" Target="../charts/chart23.xml"/><Relationship Id="rId5" Type="http://schemas.openxmlformats.org/officeDocument/2006/relationships/chart" Target="../charts/chart22.xml"/><Relationship Id="rId4" Type="http://schemas.openxmlformats.org/officeDocument/2006/relationships/chart" Target="../charts/chart21.xml"/><Relationship Id="rId9" Type="http://schemas.openxmlformats.org/officeDocument/2006/relationships/chart" Target="../charts/chart26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.xml"/><Relationship Id="rId6" Type="http://schemas.openxmlformats.org/officeDocument/2006/relationships/chart" Target="../charts/chart30.xml"/><Relationship Id="rId5" Type="http://schemas.openxmlformats.org/officeDocument/2006/relationships/chart" Target="../charts/chart29.xml"/><Relationship Id="rId4" Type="http://schemas.openxmlformats.org/officeDocument/2006/relationships/chart" Target="../charts/chart2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6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26" Type="http://schemas.openxmlformats.org/officeDocument/2006/relationships/image" Target="../media/image35.png"/><Relationship Id="rId3" Type="http://schemas.openxmlformats.org/officeDocument/2006/relationships/image" Target="../media/image12.png"/><Relationship Id="rId21" Type="http://schemas.openxmlformats.org/officeDocument/2006/relationships/image" Target="../media/image30.png"/><Relationship Id="rId34" Type="http://schemas.openxmlformats.org/officeDocument/2006/relationships/image" Target="../media/image40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5" Type="http://schemas.openxmlformats.org/officeDocument/2006/relationships/image" Target="../media/image34.png"/><Relationship Id="rId33" Type="http://schemas.openxmlformats.org/officeDocument/2006/relationships/image" Target="../media/image10.png"/><Relationship Id="rId2" Type="http://schemas.openxmlformats.org/officeDocument/2006/relationships/notesSlide" Target="../notesSlides/notesSlide39.xml"/><Relationship Id="rId16" Type="http://schemas.openxmlformats.org/officeDocument/2006/relationships/image" Target="../media/image25.png"/><Relationship Id="rId20" Type="http://schemas.openxmlformats.org/officeDocument/2006/relationships/image" Target="../media/image29.png"/><Relationship Id="rId29" Type="http://schemas.openxmlformats.org/officeDocument/2006/relationships/image" Target="../media/image38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24" Type="http://schemas.openxmlformats.org/officeDocument/2006/relationships/image" Target="../media/image33.png"/><Relationship Id="rId32" Type="http://schemas.openxmlformats.org/officeDocument/2006/relationships/image" Target="../media/image6.png"/><Relationship Id="rId5" Type="http://schemas.openxmlformats.org/officeDocument/2006/relationships/image" Target="../media/image14.png"/><Relationship Id="rId15" Type="http://schemas.openxmlformats.org/officeDocument/2006/relationships/image" Target="../media/image24.png"/><Relationship Id="rId23" Type="http://schemas.openxmlformats.org/officeDocument/2006/relationships/image" Target="../media/image32.png"/><Relationship Id="rId28" Type="http://schemas.openxmlformats.org/officeDocument/2006/relationships/image" Target="../media/image37.png"/><Relationship Id="rId10" Type="http://schemas.openxmlformats.org/officeDocument/2006/relationships/image" Target="../media/image19.png"/><Relationship Id="rId19" Type="http://schemas.openxmlformats.org/officeDocument/2006/relationships/image" Target="../media/image28.png"/><Relationship Id="rId31" Type="http://schemas.openxmlformats.org/officeDocument/2006/relationships/image" Target="../media/image5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Relationship Id="rId14" Type="http://schemas.openxmlformats.org/officeDocument/2006/relationships/image" Target="../media/image23.png"/><Relationship Id="rId22" Type="http://schemas.openxmlformats.org/officeDocument/2006/relationships/image" Target="../media/image31.png"/><Relationship Id="rId27" Type="http://schemas.openxmlformats.org/officeDocument/2006/relationships/image" Target="../media/image36.png"/><Relationship Id="rId30" Type="http://schemas.openxmlformats.org/officeDocument/2006/relationships/image" Target="../media/image39.png"/><Relationship Id="rId8" Type="http://schemas.openxmlformats.org/officeDocument/2006/relationships/image" Target="../media/image17.png"/></Relationships>
</file>

<file path=ppt/slides/_rels/slide6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9.png"/><Relationship Id="rId18" Type="http://schemas.openxmlformats.org/officeDocument/2006/relationships/image" Target="../media/image54.png"/><Relationship Id="rId26" Type="http://schemas.openxmlformats.org/officeDocument/2006/relationships/image" Target="../media/image61.png"/><Relationship Id="rId3" Type="http://schemas.openxmlformats.org/officeDocument/2006/relationships/image" Target="../media/image41.png"/><Relationship Id="rId21" Type="http://schemas.openxmlformats.org/officeDocument/2006/relationships/image" Target="../media/image56.png"/><Relationship Id="rId7" Type="http://schemas.openxmlformats.org/officeDocument/2006/relationships/image" Target="../media/image44.png"/><Relationship Id="rId12" Type="http://schemas.openxmlformats.org/officeDocument/2006/relationships/image" Target="../media/image48.png"/><Relationship Id="rId17" Type="http://schemas.openxmlformats.org/officeDocument/2006/relationships/image" Target="../media/image53.png"/><Relationship Id="rId25" Type="http://schemas.openxmlformats.org/officeDocument/2006/relationships/image" Target="../media/image60.png"/><Relationship Id="rId33" Type="http://schemas.openxmlformats.org/officeDocument/2006/relationships/image" Target="../media/image68.png"/><Relationship Id="rId2" Type="http://schemas.openxmlformats.org/officeDocument/2006/relationships/notesSlide" Target="../notesSlides/notesSlide40.xml"/><Relationship Id="rId16" Type="http://schemas.openxmlformats.org/officeDocument/2006/relationships/image" Target="../media/image52.png"/><Relationship Id="rId20" Type="http://schemas.openxmlformats.org/officeDocument/2006/relationships/image" Target="../media/image55.png"/><Relationship Id="rId29" Type="http://schemas.openxmlformats.org/officeDocument/2006/relationships/image" Target="../media/image64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43.png"/><Relationship Id="rId11" Type="http://schemas.openxmlformats.org/officeDocument/2006/relationships/image" Target="../media/image47.png"/><Relationship Id="rId24" Type="http://schemas.openxmlformats.org/officeDocument/2006/relationships/image" Target="../media/image59.png"/><Relationship Id="rId32" Type="http://schemas.openxmlformats.org/officeDocument/2006/relationships/image" Target="../media/image67.png"/><Relationship Id="rId5" Type="http://schemas.openxmlformats.org/officeDocument/2006/relationships/image" Target="../media/image42.png"/><Relationship Id="rId15" Type="http://schemas.openxmlformats.org/officeDocument/2006/relationships/image" Target="../media/image51.png"/><Relationship Id="rId23" Type="http://schemas.openxmlformats.org/officeDocument/2006/relationships/image" Target="../media/image58.png"/><Relationship Id="rId28" Type="http://schemas.openxmlformats.org/officeDocument/2006/relationships/image" Target="../media/image63.png"/><Relationship Id="rId10" Type="http://schemas.openxmlformats.org/officeDocument/2006/relationships/image" Target="../media/image9.png"/><Relationship Id="rId19" Type="http://schemas.openxmlformats.org/officeDocument/2006/relationships/image" Target="../media/image7.png"/><Relationship Id="rId31" Type="http://schemas.openxmlformats.org/officeDocument/2006/relationships/image" Target="../media/image66.png"/><Relationship Id="rId4" Type="http://schemas.openxmlformats.org/officeDocument/2006/relationships/image" Target="../media/image8.png"/><Relationship Id="rId9" Type="http://schemas.openxmlformats.org/officeDocument/2006/relationships/image" Target="../media/image46.png"/><Relationship Id="rId14" Type="http://schemas.openxmlformats.org/officeDocument/2006/relationships/image" Target="../media/image50.png"/><Relationship Id="rId22" Type="http://schemas.openxmlformats.org/officeDocument/2006/relationships/image" Target="../media/image57.png"/><Relationship Id="rId27" Type="http://schemas.openxmlformats.org/officeDocument/2006/relationships/image" Target="../media/image62.png"/><Relationship Id="rId30" Type="http://schemas.openxmlformats.org/officeDocument/2006/relationships/image" Target="../media/image65.png"/><Relationship Id="rId8" Type="http://schemas.openxmlformats.org/officeDocument/2006/relationships/image" Target="../media/image4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852707B8-9FDC-450A-A08E-93047D66ED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Любят ли учиться шмели?</a:t>
            </a:r>
          </a:p>
        </p:txBody>
      </p:sp>
      <p:sp>
        <p:nvSpPr>
          <p:cNvPr id="7" name="Объект 6">
            <a:extLst>
              <a:ext uri="{FF2B5EF4-FFF2-40B4-BE49-F238E27FC236}">
                <a16:creationId xmlns:a16="http://schemas.microsoft.com/office/drawing/2014/main" id="{9A3CAB52-EC52-4606-95E2-CAB18F0B43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88209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25">
            <a:extLst>
              <a:ext uri="{FF2B5EF4-FFF2-40B4-BE49-F238E27FC236}">
                <a16:creationId xmlns:a16="http://schemas.microsoft.com/office/drawing/2014/main" id="{997A9F39-0325-85D2-8250-35013D89B9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368300"/>
            <a:ext cx="11243637" cy="500821"/>
          </a:xfrm>
        </p:spPr>
        <p:txBody>
          <a:bodyPr/>
          <a:lstStyle/>
          <a:p>
            <a:endParaRPr lang="ru-RU" sz="2800" dirty="0"/>
          </a:p>
        </p:txBody>
      </p:sp>
      <p:sp>
        <p:nvSpPr>
          <p:cNvPr id="27" name="Subtitle 26">
            <a:extLst>
              <a:ext uri="{FF2B5EF4-FFF2-40B4-BE49-F238E27FC236}">
                <a16:creationId xmlns:a16="http://schemas.microsoft.com/office/drawing/2014/main" id="{9D285F4A-3F45-A624-5066-15CECD44FB6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4963" y="974307"/>
            <a:ext cx="11243637" cy="801432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lang="ru-RU" dirty="0"/>
              <a:t>Подзаголовок в 2 строки</a:t>
            </a:r>
          </a:p>
          <a:p>
            <a:pPr>
              <a:lnSpc>
                <a:spcPct val="80000"/>
              </a:lnSpc>
            </a:pPr>
            <a:r>
              <a:rPr lang="ru-RU" dirty="0"/>
              <a:t>Подзаголовок в 2 строки</a:t>
            </a: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625502C4-6C95-4462-D712-13818116F56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91514910-F887-5D9E-52A7-A4AE980CFAD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BB4741C7-FCEB-F926-DBF9-DF85A98431B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E2ADA43B-342A-6097-5DB8-35C3AB66AA6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477347D9-3971-B7F4-8C03-DF13A26E288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F70FB83A-C022-D962-3480-57980617EEA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55624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C101D4-8070-697E-36E2-8D98D52BF6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357930"/>
            <a:ext cx="11243637" cy="784016"/>
          </a:xfrm>
        </p:spPr>
        <p:txBody>
          <a:bodyPr/>
          <a:lstStyle/>
          <a:p>
            <a:endParaRPr lang="ru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505431A-FA48-C190-53E9-47DBBA57FB7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lIns="0" tIns="0" rIns="0" bIns="0"/>
          <a:lstStyle/>
          <a:p>
            <a:pPr>
              <a:spcBef>
                <a:spcPts val="0"/>
              </a:spcBef>
            </a:pPr>
            <a:endParaRPr lang="ru-RU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EA26D49-18CF-C6B9-B22C-DDF3D77D6BD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04AE46B-5E78-FDC0-F6BD-04F34811A7A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AFA13E8-6934-D53B-68CA-FEF25848F7E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42E1AFF-50DF-82ED-975B-2C12654935C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6FC272B-BFFD-7438-46BE-FDBF3D71DFC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AF51068-311D-4260-DC2E-74A2FE0787D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7FB7AC3-C63E-7793-34B9-4F79F8CCD25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0D2BF9E-6A03-CEB0-3000-E553E03FAEB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A3ECB5C1-3CFE-64A4-7821-2CBFA94D77A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ru-RU" dirty="0"/>
              <a:t>Еще больше текста, очень много текста</a:t>
            </a:r>
          </a:p>
        </p:txBody>
      </p:sp>
    </p:spTree>
    <p:extLst>
      <p:ext uri="{BB962C8B-B14F-4D97-AF65-F5344CB8AC3E}">
        <p14:creationId xmlns:p14="http://schemas.microsoft.com/office/powerpoint/2010/main" val="17871533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6A68381-C9EF-C31C-3192-536A21DFE6A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12A9361-E010-8B12-C785-D2640F1A2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269661" cy="89852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2315E6-C730-4ECF-3D2C-547F099891AB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37779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15A9E94-FB62-735C-5B44-613D445BF3D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E3A2DD-9A12-BA0C-82EC-7CAA6024D7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4" y="368300"/>
            <a:ext cx="6376944" cy="823310"/>
          </a:xfrm>
        </p:spPr>
        <p:txBody>
          <a:bodyPr/>
          <a:lstStyle/>
          <a:p>
            <a:endParaRPr lang="ru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B819F3-A70C-A2AA-F9F9-D1A38E5FE43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lIns="0" tIns="0" rIns="0" bIns="0"/>
          <a:lstStyle/>
          <a:p>
            <a:endParaRPr lang="ru-RU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4E183C1-3F86-B509-FD1D-F2ECC64178E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4A50D40-09AD-67F3-4714-A91D35BDE60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64070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700AAB5-D774-ADEA-56E7-CEBEA3CC698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AFD7FE3-D1D0-68A2-5781-4E8F07E9C78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ECC403-8C4B-6C04-EBE4-2D3DA61E49A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92F50D9-7616-2AEF-2636-7389ACA8113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F6C632-B305-7C3F-2D13-F68ED5C678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CF28E0-5024-BF17-0068-CC730B817F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78410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5A4BB147-9D5B-C042-ACE4-68058B5502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1580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2508ADE-E59E-D181-F039-A39959BC40D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C3D8B0C-EFCA-45C3-A92A-E9B17B93DA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8035" y="495298"/>
            <a:ext cx="3416589" cy="1171578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E9EACF6-E8C5-485F-B9F8-6F314C3308D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955459" y="2051248"/>
            <a:ext cx="3392382" cy="4047446"/>
          </a:xfrm>
        </p:spPr>
        <p:txBody>
          <a:bodyPr/>
          <a:lstStyle/>
          <a:p>
            <a:pPr marL="215900" indent="-2159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marL="216000" indent="-2160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dirty="0"/>
              <a:t>Nunc viverra imperdiet enim. Fusce est. Vivamus a tellus.</a:t>
            </a:r>
          </a:p>
          <a:p>
            <a:pPr marL="216000" indent="-2160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dirty="0"/>
              <a:t>Pellentesque habitant morbi tristique senectus et netus et malesuada fames ac turpis egestas. Proin pharetra nonummy pede. Mauris et orci.</a:t>
            </a:r>
          </a:p>
        </p:txBody>
      </p:sp>
    </p:spTree>
    <p:extLst>
      <p:ext uri="{BB962C8B-B14F-4D97-AF65-F5344CB8AC3E}">
        <p14:creationId xmlns:p14="http://schemas.microsoft.com/office/powerpoint/2010/main" val="29553629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FE9175A-4282-83E3-6F2E-88BF770ACBEA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2B02E0-1CCB-43A7-48BA-976A0998C1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368300"/>
            <a:ext cx="4986491" cy="1351173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F4B13F9-D9E3-3638-15DF-E6672BC8A062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5582F20-59FB-5C0B-48A1-2C7CB075F08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908EE64-D14A-6B2B-29E7-CD199364453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8D0E5F4-817D-1593-EE63-A7C4934C5C81}"/>
              </a:ext>
            </a:extLst>
          </p:cNvPr>
          <p:cNvSpPr>
            <a:spLocks noGrp="1"/>
          </p:cNvSpPr>
          <p:nvPr>
            <p:ph type="body" sz="half" idx="2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DD526B97-E1A0-63E1-E480-96970B9E385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B27E0EA-2262-13F6-95E5-CE1393BF164C}"/>
              </a:ext>
            </a:extLst>
          </p:cNvPr>
          <p:cNvSpPr>
            <a:spLocks noGrp="1"/>
          </p:cNvSpPr>
          <p:nvPr>
            <p:ph type="body" sz="half" idx="25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82248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35E072ED-6422-6701-7CFC-82DEA42A2DEC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7CEF81A-9FE4-4619-BAB3-369450EEC0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368300"/>
            <a:ext cx="4986491" cy="1351173"/>
          </a:xfrm>
        </p:spPr>
        <p:txBody>
          <a:bodyPr/>
          <a:lstStyle/>
          <a:p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24C871-A63E-1567-7DF2-C12CA9D9CCE5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C91D5A7-7E2F-95BE-86D5-E75F16E1EF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0B51701-5C6B-5174-2D91-4BD6522779F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169848F-B62C-9A6D-617B-C17D999F326A}"/>
              </a:ext>
            </a:extLst>
          </p:cNvPr>
          <p:cNvSpPr>
            <a:spLocks noGrp="1"/>
          </p:cNvSpPr>
          <p:nvPr>
            <p:ph type="body" sz="half" idx="2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010BD4A-BCBD-684C-1E64-44D9AB805A0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31CCFE5-162A-A00B-B841-A2829D9AC9EC}"/>
              </a:ext>
            </a:extLst>
          </p:cNvPr>
          <p:cNvSpPr>
            <a:spLocks noGrp="1"/>
          </p:cNvSpPr>
          <p:nvPr>
            <p:ph type="body" sz="half" idx="25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46590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3F85E915-6DE5-E623-B621-091A7D6E489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53BB0D5-9367-2E0A-1EA7-1EDA7D059E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368300"/>
            <a:ext cx="6378921" cy="842066"/>
          </a:xfrm>
        </p:spPr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EAF44486-9A82-3A14-84B4-55A573BD152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lIns="0" tIns="0" rIns="0" bIns="0"/>
          <a:lstStyle/>
          <a:p>
            <a:endParaRPr lang="ru-RU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F6CBEBE-5684-6D40-D014-F18C8E4468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08C96AF-0361-977D-788C-3D76BBFA52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518513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6C3B120-970F-DBC6-488D-B8DDAF44F17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D12BC3-3CE1-1869-B489-9D2AE0181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368300"/>
            <a:ext cx="6415045" cy="897058"/>
          </a:xfrm>
        </p:spPr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497AF2D-58FA-838D-7813-0270CBCB4EF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lIns="0" tIns="0" rIns="0" bIns="0"/>
          <a:lstStyle/>
          <a:p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9F6A1A7-1842-491E-5FF9-F4CC14EB05C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082BDE86-31CB-B35E-720E-579F409182F1}"/>
              </a:ext>
            </a:extLst>
          </p:cNvPr>
          <p:cNvSpPr txBox="1">
            <a:spLocks/>
          </p:cNvSpPr>
          <p:nvPr/>
        </p:nvSpPr>
        <p:spPr>
          <a:xfrm>
            <a:off x="593726" y="2675881"/>
            <a:ext cx="6149974" cy="3110013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/>
              </a:buClr>
              <a:buSzPct val="108000"/>
              <a:buFont typeface="+mj-lt"/>
              <a:buAutoNum type="arabicPeriod"/>
              <a:defRPr lang="en-US" sz="1400" b="0" i="0" kern="1200" dirty="0" smtClean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7429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SzPct val="126000"/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buFont typeface="Wide Latin" panose="020A0A07050505020404" pitchFamily="18" charset="0"/>
              <a:buChar char="-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dirty="0"/>
              <a:t>Текст</a:t>
            </a:r>
          </a:p>
          <a:p>
            <a:pPr>
              <a:defRPr/>
            </a:pPr>
            <a:r>
              <a:rPr lang="ru-RU" dirty="0"/>
              <a:t>Текст</a:t>
            </a:r>
          </a:p>
          <a:p>
            <a:pPr>
              <a:defRPr/>
            </a:pPr>
            <a:r>
              <a:rPr lang="ru-RU" dirty="0"/>
              <a:t>Текст</a:t>
            </a:r>
          </a:p>
          <a:p>
            <a:pPr>
              <a:defRPr/>
            </a:pPr>
            <a:r>
              <a:rPr lang="ru-RU" dirty="0"/>
              <a:t>Текст</a:t>
            </a:r>
          </a:p>
          <a:p>
            <a:pPr>
              <a:defRPr/>
            </a:pPr>
            <a:r>
              <a:rPr lang="ru-RU" dirty="0"/>
              <a:t>Текст</a:t>
            </a:r>
          </a:p>
          <a:p>
            <a:pPr>
              <a:defRPr/>
            </a:pPr>
            <a:r>
              <a:rPr lang="ru-RU" dirty="0"/>
              <a:t>Текст</a:t>
            </a:r>
          </a:p>
          <a:p>
            <a:pPr>
              <a:defRPr/>
            </a:pPr>
            <a:r>
              <a:rPr lang="ru-RU" dirty="0"/>
              <a:t>Текст</a:t>
            </a:r>
          </a:p>
          <a:p>
            <a:pPr>
              <a:defRPr/>
            </a:pPr>
            <a:r>
              <a:rPr lang="ru-RU" dirty="0"/>
              <a:t>Текст</a:t>
            </a:r>
          </a:p>
          <a:p>
            <a:pPr>
              <a:defRPr/>
            </a:pPr>
            <a:r>
              <a:rPr lang="ru-RU" dirty="0"/>
              <a:t>Текст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5FE37610-EF4B-43DC-44A3-D8FCF697A8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marL="0" marR="0" lvl="0" indent="0" algn="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Школа 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Летово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  |   </a:t>
            </a:r>
            <a:fld id="{3FF7ECCA-52A6-EE4C-AA7E-82FCFCDACFE6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pPr marL="0" marR="0" lvl="0" indent="0" algn="r" defTabSz="9143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91218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B96182B-3C3E-C98E-4EAC-214B7D6E37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77910A2B-0404-55B0-864F-91EA162C793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</p:spTree>
    <p:extLst>
      <p:ext uri="{BB962C8B-B14F-4D97-AF65-F5344CB8AC3E}">
        <p14:creationId xmlns:p14="http://schemas.microsoft.com/office/powerpoint/2010/main" val="32208954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85C3EA5A-DBEE-B888-D132-6860AEC3C74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C4123E-4513-2376-B046-A628FE3B7BA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368300"/>
            <a:ext cx="6372225" cy="911652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439A5865-8430-0FFD-E6B2-A3A42A5E9E0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441858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F7C5E425-9B73-46C8-4623-BC20BEEAD8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B77E43-E745-DFB4-04EB-BE94F42722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67550" y="368300"/>
            <a:ext cx="4757868" cy="921348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B35663E7-0627-D6D0-4140-B599ED512FE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Подзаголовок 2">
            <a:extLst>
              <a:ext uri="{FF2B5EF4-FFF2-40B4-BE49-F238E27FC236}">
                <a16:creationId xmlns:a16="http://schemas.microsoft.com/office/drawing/2014/main" id="{B2AC67D0-A66D-951E-4117-0AE9B2CB387F}"/>
              </a:ext>
            </a:extLst>
          </p:cNvPr>
          <p:cNvSpPr txBox="1">
            <a:spLocks/>
          </p:cNvSpPr>
          <p:nvPr/>
        </p:nvSpPr>
        <p:spPr>
          <a:xfrm>
            <a:off x="7067550" y="2435856"/>
            <a:ext cx="4757868" cy="34478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U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ni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ad minim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enia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quis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nostru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xercitatio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llamco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is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nisi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ip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x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mmodo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qu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Duis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ut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ru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dolor i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reprehender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i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oluptat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ss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illu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dolore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u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fugi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null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paria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xcepte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si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occaec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upidat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no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proide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unt in culpa qui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offici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deser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mol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ni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id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s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um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</a:t>
            </a:r>
          </a:p>
        </p:txBody>
      </p:sp>
      <p:sp>
        <p:nvSpPr>
          <p:cNvPr id="6" name="Подзаголовок 2">
            <a:extLst>
              <a:ext uri="{FF2B5EF4-FFF2-40B4-BE49-F238E27FC236}">
                <a16:creationId xmlns:a16="http://schemas.microsoft.com/office/drawing/2014/main" id="{3169C47E-A81F-7E6B-CF61-27F09DC3B08F}"/>
              </a:ext>
            </a:extLst>
          </p:cNvPr>
          <p:cNvSpPr txBox="1">
            <a:spLocks/>
          </p:cNvSpPr>
          <p:nvPr/>
        </p:nvSpPr>
        <p:spPr>
          <a:xfrm>
            <a:off x="7067549" y="2110180"/>
            <a:ext cx="4757866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Заголовок 2</a:t>
            </a:r>
          </a:p>
        </p:txBody>
      </p:sp>
    </p:spTree>
    <p:extLst>
      <p:ext uri="{BB962C8B-B14F-4D97-AF65-F5344CB8AC3E}">
        <p14:creationId xmlns:p14="http://schemas.microsoft.com/office/powerpoint/2010/main" val="36099036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537564B-0D9D-E54F-6C33-2DEEC8480B4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solidFill>
            <a:schemeClr val="bg1"/>
          </a:solidFill>
        </p:spPr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558580-D53F-C5CA-F05A-DDB999735C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67552" y="368300"/>
            <a:ext cx="4757866" cy="910806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A7757296-86BC-BD46-1462-AF7BFDEE572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2" name="Подзаголовок 2">
            <a:extLst>
              <a:ext uri="{FF2B5EF4-FFF2-40B4-BE49-F238E27FC236}">
                <a16:creationId xmlns:a16="http://schemas.microsoft.com/office/drawing/2014/main" id="{155780C4-3E10-1606-4697-F87EEA54D8E7}"/>
              </a:ext>
            </a:extLst>
          </p:cNvPr>
          <p:cNvSpPr txBox="1">
            <a:spLocks/>
          </p:cNvSpPr>
          <p:nvPr/>
        </p:nvSpPr>
        <p:spPr>
          <a:xfrm>
            <a:off x="7067549" y="2110180"/>
            <a:ext cx="4757866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Заголовок 2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E218A8B-FB01-4175-4562-DA9A19332ADB}"/>
              </a:ext>
            </a:extLst>
          </p:cNvPr>
          <p:cNvSpPr txBox="1">
            <a:spLocks/>
          </p:cNvSpPr>
          <p:nvPr/>
        </p:nvSpPr>
        <p:spPr>
          <a:xfrm>
            <a:off x="7067550" y="2435856"/>
            <a:ext cx="4757868" cy="34478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U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ni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ad minim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enia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quis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nostru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xercitatio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llamco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is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nisi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ip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x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mmodo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qu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Duis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ut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ru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dolor i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reprehender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i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oluptat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ss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illu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dolore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u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fugi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null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paria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xcepte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si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occaec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upidat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no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proide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unt in culpa qui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offici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deser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mol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ni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id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s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um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4627993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01F74A8-1C2A-53AF-634B-0763089CA16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F151B751-F7D6-728C-67FE-73ED945F95F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F5F1FDD-A030-7212-579C-A1C1D7BD741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22012E7-176E-4213-438E-C919233A03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Подзаголовок 2">
            <a:extLst>
              <a:ext uri="{FF2B5EF4-FFF2-40B4-BE49-F238E27FC236}">
                <a16:creationId xmlns:a16="http://schemas.microsoft.com/office/drawing/2014/main" id="{10D98173-539C-2A5D-38D4-44A896AD5894}"/>
              </a:ext>
            </a:extLst>
          </p:cNvPr>
          <p:cNvSpPr txBox="1">
            <a:spLocks/>
          </p:cNvSpPr>
          <p:nvPr/>
        </p:nvSpPr>
        <p:spPr>
          <a:xfrm>
            <a:off x="587374" y="2110180"/>
            <a:ext cx="6156326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Заголовок 2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3E519564-8849-9365-263F-F83F4408F62E}"/>
              </a:ext>
            </a:extLst>
          </p:cNvPr>
          <p:cNvSpPr txBox="1">
            <a:spLocks/>
          </p:cNvSpPr>
          <p:nvPr/>
        </p:nvSpPr>
        <p:spPr>
          <a:xfrm>
            <a:off x="587374" y="2435854"/>
            <a:ext cx="5795964" cy="34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U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ni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ad minim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enia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quis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nostru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xercitatio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llamco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is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nisi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ip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x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mmodo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qu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Duis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ut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ru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dolor i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reprehender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i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oluptat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ss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illu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dolore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u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fugi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null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paria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xcepte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si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occaec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upidat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no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proide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unt in culpa qui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offici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deser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mol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ni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id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s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um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569970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A2EE2C3-10DC-A019-C458-DCE9017AE4D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933E779A-1E40-195F-5304-3AC44AFAA86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3EE48AE-F32F-8C83-F119-17C03D08E5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Подзаголовок 2">
            <a:extLst>
              <a:ext uri="{FF2B5EF4-FFF2-40B4-BE49-F238E27FC236}">
                <a16:creationId xmlns:a16="http://schemas.microsoft.com/office/drawing/2014/main" id="{633C8004-5BE9-54E7-B77A-812B307D3E1C}"/>
              </a:ext>
            </a:extLst>
          </p:cNvPr>
          <p:cNvSpPr txBox="1">
            <a:spLocks/>
          </p:cNvSpPr>
          <p:nvPr/>
        </p:nvSpPr>
        <p:spPr>
          <a:xfrm>
            <a:off x="587374" y="2110180"/>
            <a:ext cx="6156326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Заголовок 2</a:t>
            </a:r>
          </a:p>
        </p:txBody>
      </p:sp>
      <p:sp>
        <p:nvSpPr>
          <p:cNvPr id="6" name="Подзаголовок 2">
            <a:extLst>
              <a:ext uri="{FF2B5EF4-FFF2-40B4-BE49-F238E27FC236}">
                <a16:creationId xmlns:a16="http://schemas.microsoft.com/office/drawing/2014/main" id="{C9C96B05-4C36-4004-4248-9A29CC93E8D6}"/>
              </a:ext>
            </a:extLst>
          </p:cNvPr>
          <p:cNvSpPr txBox="1">
            <a:spLocks/>
          </p:cNvSpPr>
          <p:nvPr/>
        </p:nvSpPr>
        <p:spPr>
          <a:xfrm>
            <a:off x="587374" y="2435854"/>
            <a:ext cx="5795964" cy="34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U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ni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ad minim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enia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quis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nostru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xercitatio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llamco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is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nisi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ip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x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mmodo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qu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Duis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ut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ru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dolor i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reprehender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i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oluptat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v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ss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illu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dolore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u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fugi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null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paria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xcepte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si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occaec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upidata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non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proide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unt in culpa qui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offici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deser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mol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nim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id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s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um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0751254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010283-B01A-C4D0-0C94-AACE944EC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368300"/>
            <a:ext cx="11272212" cy="88858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DFC9A17-000E-D821-B2EA-65F180A44C2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Подзаголовок 2">
            <a:extLst>
              <a:ext uri="{FF2B5EF4-FFF2-40B4-BE49-F238E27FC236}">
                <a16:creationId xmlns:a16="http://schemas.microsoft.com/office/drawing/2014/main" id="{00AE4145-E30C-8702-AF9E-8EB54A953C6A}"/>
              </a:ext>
            </a:extLst>
          </p:cNvPr>
          <p:cNvSpPr txBox="1">
            <a:spLocks/>
          </p:cNvSpPr>
          <p:nvPr/>
        </p:nvSpPr>
        <p:spPr>
          <a:xfrm>
            <a:off x="58737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5" name="Подзаголовок 2">
            <a:extLst>
              <a:ext uri="{FF2B5EF4-FFF2-40B4-BE49-F238E27FC236}">
                <a16:creationId xmlns:a16="http://schemas.microsoft.com/office/drawing/2014/main" id="{D5F7923E-D07A-3264-ED34-8CC95FC014C8}"/>
              </a:ext>
            </a:extLst>
          </p:cNvPr>
          <p:cNvSpPr txBox="1">
            <a:spLocks/>
          </p:cNvSpPr>
          <p:nvPr/>
        </p:nvSpPr>
        <p:spPr>
          <a:xfrm>
            <a:off x="58737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6" name="Подзаголовок 2">
            <a:extLst>
              <a:ext uri="{FF2B5EF4-FFF2-40B4-BE49-F238E27FC236}">
                <a16:creationId xmlns:a16="http://schemas.microsoft.com/office/drawing/2014/main" id="{6EAC2807-2D12-C1F3-B3A8-EE19B45DDE0F}"/>
              </a:ext>
            </a:extLst>
          </p:cNvPr>
          <p:cNvSpPr txBox="1">
            <a:spLocks/>
          </p:cNvSpPr>
          <p:nvPr/>
        </p:nvSpPr>
        <p:spPr>
          <a:xfrm>
            <a:off x="587374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00ADB9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C83061BA-87B0-E0B8-4AE3-E36B44FA9300}"/>
              </a:ext>
            </a:extLst>
          </p:cNvPr>
          <p:cNvSpPr txBox="1">
            <a:spLocks/>
          </p:cNvSpPr>
          <p:nvPr/>
        </p:nvSpPr>
        <p:spPr>
          <a:xfrm>
            <a:off x="4382134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411E3D39-FF86-CDAB-5CD0-997C196ADBC1}"/>
              </a:ext>
            </a:extLst>
          </p:cNvPr>
          <p:cNvSpPr txBox="1">
            <a:spLocks/>
          </p:cNvSpPr>
          <p:nvPr/>
        </p:nvSpPr>
        <p:spPr>
          <a:xfrm>
            <a:off x="4382135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9" name="Подзаголовок 2">
            <a:extLst>
              <a:ext uri="{FF2B5EF4-FFF2-40B4-BE49-F238E27FC236}">
                <a16:creationId xmlns:a16="http://schemas.microsoft.com/office/drawing/2014/main" id="{58E5962C-72A4-247B-09FA-0D640D742FDF}"/>
              </a:ext>
            </a:extLst>
          </p:cNvPr>
          <p:cNvSpPr txBox="1">
            <a:spLocks/>
          </p:cNvSpPr>
          <p:nvPr/>
        </p:nvSpPr>
        <p:spPr>
          <a:xfrm>
            <a:off x="4382134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00ADB9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55</a:t>
            </a:r>
          </a:p>
        </p:txBody>
      </p:sp>
      <p:sp>
        <p:nvSpPr>
          <p:cNvPr id="10" name="Подзаголовок 2">
            <a:extLst>
              <a:ext uri="{FF2B5EF4-FFF2-40B4-BE49-F238E27FC236}">
                <a16:creationId xmlns:a16="http://schemas.microsoft.com/office/drawing/2014/main" id="{CC338736-3E24-6C62-55ED-3BA4A15748B9}"/>
              </a:ext>
            </a:extLst>
          </p:cNvPr>
          <p:cNvSpPr txBox="1">
            <a:spLocks/>
          </p:cNvSpPr>
          <p:nvPr/>
        </p:nvSpPr>
        <p:spPr>
          <a:xfrm>
            <a:off x="8199755" y="259864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11" name="Подзаголовок 2">
            <a:extLst>
              <a:ext uri="{FF2B5EF4-FFF2-40B4-BE49-F238E27FC236}">
                <a16:creationId xmlns:a16="http://schemas.microsoft.com/office/drawing/2014/main" id="{318E022F-3C0B-87CE-1272-69BA5B967181}"/>
              </a:ext>
            </a:extLst>
          </p:cNvPr>
          <p:cNvSpPr txBox="1">
            <a:spLocks/>
          </p:cNvSpPr>
          <p:nvPr/>
        </p:nvSpPr>
        <p:spPr>
          <a:xfrm>
            <a:off x="8199754" y="285694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2" name="Подзаголовок 2">
            <a:extLst>
              <a:ext uri="{FF2B5EF4-FFF2-40B4-BE49-F238E27FC236}">
                <a16:creationId xmlns:a16="http://schemas.microsoft.com/office/drawing/2014/main" id="{18FBBF90-C9F0-CC4A-17C7-D264C6CDF07B}"/>
              </a:ext>
            </a:extLst>
          </p:cNvPr>
          <p:cNvSpPr txBox="1">
            <a:spLocks/>
          </p:cNvSpPr>
          <p:nvPr/>
        </p:nvSpPr>
        <p:spPr>
          <a:xfrm>
            <a:off x="8199755" y="1793468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00ADB9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13" name="Подзаголовок 2">
            <a:extLst>
              <a:ext uri="{FF2B5EF4-FFF2-40B4-BE49-F238E27FC236}">
                <a16:creationId xmlns:a16="http://schemas.microsoft.com/office/drawing/2014/main" id="{52A2F089-1800-3286-7483-BA92AA3C05CF}"/>
              </a:ext>
            </a:extLst>
          </p:cNvPr>
          <p:cNvSpPr txBox="1">
            <a:spLocks/>
          </p:cNvSpPr>
          <p:nvPr/>
        </p:nvSpPr>
        <p:spPr>
          <a:xfrm>
            <a:off x="58737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14" name="Подзаголовок 2">
            <a:extLst>
              <a:ext uri="{FF2B5EF4-FFF2-40B4-BE49-F238E27FC236}">
                <a16:creationId xmlns:a16="http://schemas.microsoft.com/office/drawing/2014/main" id="{15783A78-AE90-FE61-CF46-B928237B8E48}"/>
              </a:ext>
            </a:extLst>
          </p:cNvPr>
          <p:cNvSpPr txBox="1">
            <a:spLocks/>
          </p:cNvSpPr>
          <p:nvPr/>
        </p:nvSpPr>
        <p:spPr>
          <a:xfrm>
            <a:off x="58737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5" name="Подзаголовок 2">
            <a:extLst>
              <a:ext uri="{FF2B5EF4-FFF2-40B4-BE49-F238E27FC236}">
                <a16:creationId xmlns:a16="http://schemas.microsoft.com/office/drawing/2014/main" id="{58921141-85DE-299D-0AED-98D95092A1E1}"/>
              </a:ext>
            </a:extLst>
          </p:cNvPr>
          <p:cNvSpPr txBox="1">
            <a:spLocks/>
          </p:cNvSpPr>
          <p:nvPr/>
        </p:nvSpPr>
        <p:spPr>
          <a:xfrm>
            <a:off x="587374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00ADB9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  <p:sp>
        <p:nvSpPr>
          <p:cNvPr id="16" name="Подзаголовок 2">
            <a:extLst>
              <a:ext uri="{FF2B5EF4-FFF2-40B4-BE49-F238E27FC236}">
                <a16:creationId xmlns:a16="http://schemas.microsoft.com/office/drawing/2014/main" id="{40FECE4C-051A-C15F-D5BE-D388728B928B}"/>
              </a:ext>
            </a:extLst>
          </p:cNvPr>
          <p:cNvSpPr txBox="1">
            <a:spLocks/>
          </p:cNvSpPr>
          <p:nvPr/>
        </p:nvSpPr>
        <p:spPr>
          <a:xfrm>
            <a:off x="4382134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17" name="Подзаголовок 2">
            <a:extLst>
              <a:ext uri="{FF2B5EF4-FFF2-40B4-BE49-F238E27FC236}">
                <a16:creationId xmlns:a16="http://schemas.microsoft.com/office/drawing/2014/main" id="{9272D122-A799-E44F-EFF8-6047EBFAC306}"/>
              </a:ext>
            </a:extLst>
          </p:cNvPr>
          <p:cNvSpPr txBox="1">
            <a:spLocks/>
          </p:cNvSpPr>
          <p:nvPr/>
        </p:nvSpPr>
        <p:spPr>
          <a:xfrm>
            <a:off x="4382135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18" name="Подзаголовок 2">
            <a:extLst>
              <a:ext uri="{FF2B5EF4-FFF2-40B4-BE49-F238E27FC236}">
                <a16:creationId xmlns:a16="http://schemas.microsoft.com/office/drawing/2014/main" id="{C99E7728-F526-67FB-1AC4-792401ABB06F}"/>
              </a:ext>
            </a:extLst>
          </p:cNvPr>
          <p:cNvSpPr txBox="1">
            <a:spLocks/>
          </p:cNvSpPr>
          <p:nvPr/>
        </p:nvSpPr>
        <p:spPr>
          <a:xfrm>
            <a:off x="4382134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00ADB9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55</a:t>
            </a:r>
          </a:p>
        </p:txBody>
      </p:sp>
      <p:sp>
        <p:nvSpPr>
          <p:cNvPr id="19" name="Подзаголовок 2">
            <a:extLst>
              <a:ext uri="{FF2B5EF4-FFF2-40B4-BE49-F238E27FC236}">
                <a16:creationId xmlns:a16="http://schemas.microsoft.com/office/drawing/2014/main" id="{C2407726-176E-7F8E-0BEF-9363D72D93F7}"/>
              </a:ext>
            </a:extLst>
          </p:cNvPr>
          <p:cNvSpPr txBox="1">
            <a:spLocks/>
          </p:cNvSpPr>
          <p:nvPr/>
        </p:nvSpPr>
        <p:spPr>
          <a:xfrm>
            <a:off x="8199755" y="4873218"/>
            <a:ext cx="3419999" cy="325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Название</a:t>
            </a:r>
          </a:p>
        </p:txBody>
      </p:sp>
      <p:sp>
        <p:nvSpPr>
          <p:cNvPr id="20" name="Подзаголовок 2">
            <a:extLst>
              <a:ext uri="{FF2B5EF4-FFF2-40B4-BE49-F238E27FC236}">
                <a16:creationId xmlns:a16="http://schemas.microsoft.com/office/drawing/2014/main" id="{2E7F68D3-CC3A-855F-A4CB-61F7087394FB}"/>
              </a:ext>
            </a:extLst>
          </p:cNvPr>
          <p:cNvSpPr txBox="1">
            <a:spLocks/>
          </p:cNvSpPr>
          <p:nvPr/>
        </p:nvSpPr>
        <p:spPr>
          <a:xfrm>
            <a:off x="8199754" y="5131517"/>
            <a:ext cx="3420000" cy="92079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orem ipsum dolor sit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me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onsectetu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dipiscing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li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, sed do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eiusmod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empor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ncididun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ut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labore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et dolore magna </a:t>
            </a:r>
            <a:r>
              <a:rPr kumimoji="0" lang="e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aliqua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solidFill>
                  <a:srgbClr val="0D307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D3074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21" name="Подзаголовок 2">
            <a:extLst>
              <a:ext uri="{FF2B5EF4-FFF2-40B4-BE49-F238E27FC236}">
                <a16:creationId xmlns:a16="http://schemas.microsoft.com/office/drawing/2014/main" id="{7D4F6FA4-36C3-8542-5AD7-E37F64BD86B8}"/>
              </a:ext>
            </a:extLst>
          </p:cNvPr>
          <p:cNvSpPr txBox="1">
            <a:spLocks/>
          </p:cNvSpPr>
          <p:nvPr/>
        </p:nvSpPr>
        <p:spPr>
          <a:xfrm>
            <a:off x="8199755" y="4068039"/>
            <a:ext cx="3419999" cy="59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600" b="0" i="0" u="none" strike="noStrike" kern="1200" cap="none" spc="0" normalizeH="0" baseline="0" noProof="0" dirty="0">
                <a:ln>
                  <a:noFill/>
                </a:ln>
                <a:solidFill>
                  <a:srgbClr val="00ADB9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75</a:t>
            </a:r>
          </a:p>
        </p:txBody>
      </p:sp>
    </p:spTree>
    <p:extLst>
      <p:ext uri="{BB962C8B-B14F-4D97-AF65-F5344CB8AC3E}">
        <p14:creationId xmlns:p14="http://schemas.microsoft.com/office/powerpoint/2010/main" val="155761263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Subtitle 69">
            <a:extLst>
              <a:ext uri="{FF2B5EF4-FFF2-40B4-BE49-F238E27FC236}">
                <a16:creationId xmlns:a16="http://schemas.microsoft.com/office/drawing/2014/main" id="{AC7E4BBE-BAEC-2E68-C08C-2D72DEAA4C6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B43DB539-FA4A-7B5F-FE45-80E120A2C59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C43B9A84-9D9F-03C0-E649-F64CCF4E70F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/>
          </a:p>
        </p:txBody>
      </p:sp>
      <p:sp>
        <p:nvSpPr>
          <p:cNvPr id="73" name="Text Placeholder 72">
            <a:extLst>
              <a:ext uri="{FF2B5EF4-FFF2-40B4-BE49-F238E27FC236}">
                <a16:creationId xmlns:a16="http://schemas.microsoft.com/office/drawing/2014/main" id="{1163CEDF-E712-1CD4-3934-A4F9350498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/>
          </a:p>
        </p:txBody>
      </p:sp>
      <p:sp>
        <p:nvSpPr>
          <p:cNvPr id="74" name="Text Placeholder 73">
            <a:extLst>
              <a:ext uri="{FF2B5EF4-FFF2-40B4-BE49-F238E27FC236}">
                <a16:creationId xmlns:a16="http://schemas.microsoft.com/office/drawing/2014/main" id="{45289D64-AE10-DABE-1007-56FCD698B3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/>
          </a:p>
        </p:txBody>
      </p:sp>
      <p:sp>
        <p:nvSpPr>
          <p:cNvPr id="75" name="Text Placeholder 74">
            <a:extLst>
              <a:ext uri="{FF2B5EF4-FFF2-40B4-BE49-F238E27FC236}">
                <a16:creationId xmlns:a16="http://schemas.microsoft.com/office/drawing/2014/main" id="{68ECE3A6-93EA-3657-D20F-F309F33C56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/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7D2632C6-4E3C-C924-4D65-BCCA4AC2F5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/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F5A0201-F3A4-A91B-E0E5-5DBEA0E6CE1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05AED389-A181-3C02-AB9D-71000B816303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80" name="Text Placeholder 79">
            <a:extLst>
              <a:ext uri="{FF2B5EF4-FFF2-40B4-BE49-F238E27FC236}">
                <a16:creationId xmlns:a16="http://schemas.microsoft.com/office/drawing/2014/main" id="{39C26708-C531-5BAA-9337-09FB7A76F8D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81" name="Text Placeholder 80">
            <a:extLst>
              <a:ext uri="{FF2B5EF4-FFF2-40B4-BE49-F238E27FC236}">
                <a16:creationId xmlns:a16="http://schemas.microsoft.com/office/drawing/2014/main" id="{3EC2E13F-8CAB-D9C8-91A9-5ECBB35BFF8E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ADD6C21F-1E9A-225F-2C3E-8882107ADB5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D0254BF0-E241-6E37-DBFB-57558857D15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69" name="Title 68">
            <a:extLst>
              <a:ext uri="{FF2B5EF4-FFF2-40B4-BE49-F238E27FC236}">
                <a16:creationId xmlns:a16="http://schemas.microsoft.com/office/drawing/2014/main" id="{E633A4F9-BF88-8C41-92F3-BD14A4C6D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7" name="Picture Placeholder 76">
            <a:extLst>
              <a:ext uri="{FF2B5EF4-FFF2-40B4-BE49-F238E27FC236}">
                <a16:creationId xmlns:a16="http://schemas.microsoft.com/office/drawing/2014/main" id="{ED414962-2055-DBF1-15CD-57979ACDBB6B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/>
      </p:sp>
      <p:sp>
        <p:nvSpPr>
          <p:cNvPr id="84" name="Picture Placeholder 83">
            <a:extLst>
              <a:ext uri="{FF2B5EF4-FFF2-40B4-BE49-F238E27FC236}">
                <a16:creationId xmlns:a16="http://schemas.microsoft.com/office/drawing/2014/main" id="{BD1959EE-3684-CA23-D0F0-79D48C9949C4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/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33641C2C-7CAC-B30D-920A-2072E227F55C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EF24A3DB-6F88-6ABE-AD96-062CD73FCE41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/>
      </p:sp>
      <p:sp>
        <p:nvSpPr>
          <p:cNvPr id="87" name="Picture Placeholder 86">
            <a:extLst>
              <a:ext uri="{FF2B5EF4-FFF2-40B4-BE49-F238E27FC236}">
                <a16:creationId xmlns:a16="http://schemas.microsoft.com/office/drawing/2014/main" id="{35A10447-7808-7F7F-6613-695CE309B99E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/>
      </p:sp>
      <p:sp>
        <p:nvSpPr>
          <p:cNvPr id="88" name="Picture Placeholder 87">
            <a:extLst>
              <a:ext uri="{FF2B5EF4-FFF2-40B4-BE49-F238E27FC236}">
                <a16:creationId xmlns:a16="http://schemas.microsoft.com/office/drawing/2014/main" id="{A882105A-E431-811D-0609-D96226285043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/>
      </p:sp>
    </p:spTree>
    <p:extLst>
      <p:ext uri="{BB962C8B-B14F-4D97-AF65-F5344CB8AC3E}">
        <p14:creationId xmlns:p14="http://schemas.microsoft.com/office/powerpoint/2010/main" val="162545843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Subtitle 69">
            <a:extLst>
              <a:ext uri="{FF2B5EF4-FFF2-40B4-BE49-F238E27FC236}">
                <a16:creationId xmlns:a16="http://schemas.microsoft.com/office/drawing/2014/main" id="{AC7E4BBE-BAEC-2E68-C08C-2D72DEAA4C6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B43DB539-FA4A-7B5F-FE45-80E120A2C59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C43B9A84-9D9F-03C0-E649-F64CCF4E70F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/>
          </a:p>
        </p:txBody>
      </p:sp>
      <p:sp>
        <p:nvSpPr>
          <p:cNvPr id="73" name="Text Placeholder 72">
            <a:extLst>
              <a:ext uri="{FF2B5EF4-FFF2-40B4-BE49-F238E27FC236}">
                <a16:creationId xmlns:a16="http://schemas.microsoft.com/office/drawing/2014/main" id="{1163CEDF-E712-1CD4-3934-A4F9350498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/>
          </a:p>
        </p:txBody>
      </p:sp>
      <p:sp>
        <p:nvSpPr>
          <p:cNvPr id="74" name="Text Placeholder 73">
            <a:extLst>
              <a:ext uri="{FF2B5EF4-FFF2-40B4-BE49-F238E27FC236}">
                <a16:creationId xmlns:a16="http://schemas.microsoft.com/office/drawing/2014/main" id="{45289D64-AE10-DABE-1007-56FCD698B3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/>
          </a:p>
        </p:txBody>
      </p:sp>
      <p:sp>
        <p:nvSpPr>
          <p:cNvPr id="75" name="Text Placeholder 74">
            <a:extLst>
              <a:ext uri="{FF2B5EF4-FFF2-40B4-BE49-F238E27FC236}">
                <a16:creationId xmlns:a16="http://schemas.microsoft.com/office/drawing/2014/main" id="{68ECE3A6-93EA-3657-D20F-F309F33C56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/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7D2632C6-4E3C-C924-4D65-BCCA4AC2F5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/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F5A0201-F3A4-A91B-E0E5-5DBEA0E6CE1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05AED389-A181-3C02-AB9D-71000B816303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80" name="Text Placeholder 79">
            <a:extLst>
              <a:ext uri="{FF2B5EF4-FFF2-40B4-BE49-F238E27FC236}">
                <a16:creationId xmlns:a16="http://schemas.microsoft.com/office/drawing/2014/main" id="{39C26708-C531-5BAA-9337-09FB7A76F8D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81" name="Text Placeholder 80">
            <a:extLst>
              <a:ext uri="{FF2B5EF4-FFF2-40B4-BE49-F238E27FC236}">
                <a16:creationId xmlns:a16="http://schemas.microsoft.com/office/drawing/2014/main" id="{3EC2E13F-8CAB-D9C8-91A9-5ECBB35BFF8E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ADD6C21F-1E9A-225F-2C3E-8882107ADB5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D0254BF0-E241-6E37-DBFB-57558857D15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69" name="Title 68">
            <a:extLst>
              <a:ext uri="{FF2B5EF4-FFF2-40B4-BE49-F238E27FC236}">
                <a16:creationId xmlns:a16="http://schemas.microsoft.com/office/drawing/2014/main" id="{E633A4F9-BF88-8C41-92F3-BD14A4C6D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2" name="Рисунок 12">
            <a:extLst>
              <a:ext uri="{FF2B5EF4-FFF2-40B4-BE49-F238E27FC236}">
                <a16:creationId xmlns:a16="http://schemas.microsoft.com/office/drawing/2014/main" id="{73F42B0C-FB74-8B3D-063E-D71BF7641E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84629" y="1763125"/>
            <a:ext cx="1080000" cy="1080000"/>
          </a:xfrm>
          <a:prstGeom prst="rect">
            <a:avLst/>
          </a:prstGeom>
        </p:spPr>
      </p:pic>
      <p:pic>
        <p:nvPicPr>
          <p:cNvPr id="3" name="Рисунок 14">
            <a:extLst>
              <a:ext uri="{FF2B5EF4-FFF2-40B4-BE49-F238E27FC236}">
                <a16:creationId xmlns:a16="http://schemas.microsoft.com/office/drawing/2014/main" id="{531384E0-9E82-0E81-0815-028187801E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7213" y="1767189"/>
            <a:ext cx="1080000" cy="1080000"/>
          </a:xfrm>
          <a:prstGeom prst="rect">
            <a:avLst/>
          </a:prstGeom>
        </p:spPr>
      </p:pic>
      <p:pic>
        <p:nvPicPr>
          <p:cNvPr id="4" name="Рисунок 34">
            <a:extLst>
              <a:ext uri="{FF2B5EF4-FFF2-40B4-BE49-F238E27FC236}">
                <a16:creationId xmlns:a16="http://schemas.microsoft.com/office/drawing/2014/main" id="{9B6236B0-CEBE-6E52-EC73-2388CEAF96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7375" y="1762500"/>
            <a:ext cx="1080000" cy="1080000"/>
          </a:xfrm>
          <a:prstGeom prst="rect">
            <a:avLst/>
          </a:prstGeom>
        </p:spPr>
      </p:pic>
      <p:pic>
        <p:nvPicPr>
          <p:cNvPr id="5" name="Рисунок 37">
            <a:extLst>
              <a:ext uri="{FF2B5EF4-FFF2-40B4-BE49-F238E27FC236}">
                <a16:creationId xmlns:a16="http://schemas.microsoft.com/office/drawing/2014/main" id="{0BD0FD13-88C1-EC48-E0EF-5CAC07111E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92392" y="3978897"/>
            <a:ext cx="1080000" cy="1080000"/>
          </a:xfrm>
          <a:prstGeom prst="rect">
            <a:avLst/>
          </a:prstGeom>
        </p:spPr>
      </p:pic>
      <p:pic>
        <p:nvPicPr>
          <p:cNvPr id="6" name="Рисунок 39">
            <a:extLst>
              <a:ext uri="{FF2B5EF4-FFF2-40B4-BE49-F238E27FC236}">
                <a16:creationId xmlns:a16="http://schemas.microsoft.com/office/drawing/2014/main" id="{F6E6F8C6-0DA7-3376-2E19-2598226B90C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9884" y="3990560"/>
            <a:ext cx="1080000" cy="1080000"/>
          </a:xfrm>
          <a:prstGeom prst="rect">
            <a:avLst/>
          </a:prstGeom>
        </p:spPr>
      </p:pic>
      <p:pic>
        <p:nvPicPr>
          <p:cNvPr id="7" name="Рисунок 41">
            <a:extLst>
              <a:ext uri="{FF2B5EF4-FFF2-40B4-BE49-F238E27FC236}">
                <a16:creationId xmlns:a16="http://schemas.microsoft.com/office/drawing/2014/main" id="{69255893-030A-EDD3-BD38-B9597FBDA1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78396" y="3998532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61631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380D0F-C1F0-D103-79AC-E9CA1D1124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357930"/>
            <a:ext cx="11243637" cy="59216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62F935-2A01-D414-864C-2ABAE365891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lnSpc>
                <a:spcPts val="2200"/>
              </a:lnSpc>
            </a:pPr>
            <a:endParaRPr lang="ru-RU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628C7DE-F596-C970-2C08-00D61D74633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solidFill>
            <a:schemeClr val="bg2"/>
          </a:solidFill>
        </p:spPr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C1292C-7AEE-B9B1-6143-C7A8F814884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6DF998B-2F7D-A9C5-BA2D-B614AA5D3DC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550F736-C9A7-8A49-966C-F850A5194E8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pPr algn="ctr"/>
            <a:endParaRPr lang="ru-RU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2EF4380-692A-20F9-B8F3-C1D9B4BF975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826924" y="3510744"/>
            <a:ext cx="1988047" cy="365125"/>
          </a:xfrm>
        </p:spPr>
        <p:txBody>
          <a:bodyPr/>
          <a:lstStyle/>
          <a:p>
            <a:pPr marL="0" indent="0" algn="ctr">
              <a:buNone/>
            </a:pPr>
            <a:endParaRPr lang="ru-RU" sz="120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35B1686-0F42-5A53-160B-40E8543BB9D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algn="ctr"/>
            <a:endParaRPr lang="ru-RU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5858694-352C-156D-2EB3-18B8B08D0EA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031633" y="3510744"/>
            <a:ext cx="1988047" cy="365125"/>
          </a:xfrm>
        </p:spPr>
        <p:txBody>
          <a:bodyPr/>
          <a:lstStyle/>
          <a:p>
            <a:pPr marL="0" indent="0" algn="ctr">
              <a:buNone/>
            </a:pPr>
            <a:endParaRPr lang="ru-RU" sz="120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67A8051-A2DE-9098-A331-93FC42005BA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pPr algn="ctr"/>
            <a:endParaRPr lang="ru-RU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FCB093C-E9E9-AD82-DFB3-D2A19EB28CF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314519" y="3530867"/>
            <a:ext cx="1988047" cy="365125"/>
          </a:xfrm>
        </p:spPr>
        <p:txBody>
          <a:bodyPr/>
          <a:lstStyle/>
          <a:p>
            <a:pPr marL="0" indent="0" algn="ctr">
              <a:buNone/>
            </a:pPr>
            <a:endParaRPr lang="ru-RU" sz="12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AE31FFC-EECA-87FF-E18F-490CA85F3EA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pPr algn="ctr"/>
            <a:endParaRPr lang="ru-RU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453B392-871D-DAC8-2F7B-F3BCB78E2B16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9653090" y="3530867"/>
            <a:ext cx="1988047" cy="365125"/>
          </a:xfrm>
        </p:spPr>
        <p:txBody>
          <a:bodyPr/>
          <a:lstStyle/>
          <a:p>
            <a:pPr marL="0" indent="0" algn="ctr">
              <a:buNone/>
            </a:pPr>
            <a:endParaRPr lang="ru-RU" sz="120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8FABE90-8CF3-AF82-33AE-DC178184409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pPr algn="ctr"/>
            <a:endParaRPr lang="ru-RU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8EE5049-E5B6-9592-B223-FA31ADF7268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57739" y="5823621"/>
            <a:ext cx="1988047" cy="365125"/>
          </a:xfrm>
        </p:spPr>
        <p:txBody>
          <a:bodyPr/>
          <a:lstStyle/>
          <a:p>
            <a:pPr marL="0" indent="0" algn="ctr">
              <a:buNone/>
            </a:pPr>
            <a:endParaRPr lang="ru-RU" sz="1200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60BA4A5-8EEA-7829-4687-E7029ED9962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pPr algn="ctr"/>
            <a:endParaRPr lang="ru-RU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214DE32-BB3B-D713-F46C-B65916D1C7E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833800" y="5829007"/>
            <a:ext cx="1988047" cy="365125"/>
          </a:xfrm>
        </p:spPr>
        <p:txBody>
          <a:bodyPr/>
          <a:lstStyle/>
          <a:p>
            <a:pPr marL="0" indent="0" algn="ctr">
              <a:buNone/>
            </a:pPr>
            <a:endParaRPr lang="ru-RU" sz="120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08426F6-8F87-85CE-7AA1-956F9B80CBF4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pPr algn="ctr"/>
            <a:endParaRPr lang="ru-RU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6D5ACC-66A2-FE55-0C23-F2052380AFB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038509" y="5829007"/>
            <a:ext cx="1988047" cy="365125"/>
          </a:xfrm>
        </p:spPr>
        <p:txBody>
          <a:bodyPr/>
          <a:lstStyle/>
          <a:p>
            <a:pPr marL="0" indent="0" algn="ctr">
              <a:buNone/>
            </a:pPr>
            <a:endParaRPr lang="ru-RU" sz="120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75A5703F-DBFF-54BC-F1A6-E1B003A363E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pPr algn="ctr"/>
            <a:endParaRPr lang="ru-RU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1D79D8B8-03F6-8EA8-FF55-2029AFE37B8B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321395" y="5849130"/>
            <a:ext cx="1988047" cy="365125"/>
          </a:xfrm>
        </p:spPr>
        <p:txBody>
          <a:bodyPr/>
          <a:lstStyle/>
          <a:p>
            <a:pPr marL="0" indent="0" algn="ctr">
              <a:buNone/>
            </a:pPr>
            <a:endParaRPr lang="ru-RU" sz="120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9335597D-09B8-6065-DE19-3F04C0778563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pPr algn="ctr"/>
            <a:endParaRPr lang="ru-RU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882EF4CD-3BB4-2A9D-33AB-77D1DF55460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9659966" y="5849130"/>
            <a:ext cx="1988047" cy="365125"/>
          </a:xfrm>
        </p:spPr>
        <p:txBody>
          <a:bodyPr/>
          <a:lstStyle/>
          <a:p>
            <a:pPr marL="0" indent="0" algn="ctr">
              <a:buNone/>
            </a:pPr>
            <a:endParaRPr lang="ru-RU" sz="120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B2CA8DB4-A236-0217-B652-155C055F2E5D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solidFill>
            <a:schemeClr val="bg2"/>
          </a:solidFill>
        </p:spPr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247ABA48-AD83-CB4E-A532-DF5EB351BEC6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solidFill>
            <a:schemeClr val="bg2"/>
          </a:solidFill>
        </p:spPr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A2957013-9462-2B6D-9E70-7A132E880396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solidFill>
            <a:schemeClr val="bg2"/>
          </a:solidFill>
        </p:spPr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DCC3ED97-9009-7DA3-9DD8-D5CB14CEB630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solidFill>
            <a:schemeClr val="bg2"/>
          </a:solidFill>
        </p:spPr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750915A7-8B4C-A340-B56E-89E370EB0ACF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solidFill>
            <a:schemeClr val="bg2"/>
          </a:solidFill>
        </p:spPr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77422C5C-264E-5CE7-E04D-451A1C1C1139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solidFill>
            <a:schemeClr val="bg2"/>
          </a:solidFill>
        </p:spPr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9DD21649-BBA0-06BF-A05D-87615B19F04A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solidFill>
            <a:schemeClr val="bg2"/>
          </a:solidFill>
        </p:spPr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9C2DC10B-06B9-2567-FC08-2B148BFFD9F3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solidFill>
            <a:schemeClr val="bg2"/>
          </a:solidFill>
        </p:spPr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F40DCD9F-043A-F619-8580-11E6929FE76A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solidFill>
            <a:schemeClr val="bg2"/>
          </a:solidFill>
        </p:spPr>
      </p:sp>
      <p:sp>
        <p:nvSpPr>
          <p:cNvPr id="34" name="Номер слайда 5">
            <a:extLst>
              <a:ext uri="{FF2B5EF4-FFF2-40B4-BE49-F238E27FC236}">
                <a16:creationId xmlns:a16="http://schemas.microsoft.com/office/drawing/2014/main" id="{D2180968-C72F-5946-0DA3-B8621BDA6C82}"/>
              </a:ext>
            </a:extLst>
          </p:cNvPr>
          <p:cNvSpPr txBox="1">
            <a:spLocks/>
          </p:cNvSpPr>
          <p:nvPr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accent3"/>
                </a:solidFill>
              </a:rPr>
              <a:t>Школа </a:t>
            </a:r>
            <a:r>
              <a:rPr lang="ru-RU" dirty="0" err="1">
                <a:solidFill>
                  <a:schemeClr val="accent3"/>
                </a:solidFill>
              </a:rPr>
              <a:t>Летово</a:t>
            </a:r>
            <a:r>
              <a:rPr lang="en-US" dirty="0">
                <a:solidFill>
                  <a:schemeClr val="accent3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accent3"/>
                </a:solidFill>
              </a:rPr>
              <a:pPr algn="r" defTabSz="914300"/>
              <a:t>28</a:t>
            </a:fld>
            <a:endParaRPr lang="ru-RU" dirty="0"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C75897-090F-4C36-4BE0-3174EC360B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357930"/>
            <a:ext cx="11243637" cy="592160"/>
          </a:xfrm>
        </p:spPr>
        <p:txBody>
          <a:bodyPr/>
          <a:lstStyle/>
          <a:p>
            <a:endParaRPr lang="ru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3A459CE-7B6D-B045-CA29-E0A954DA774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lnSpc>
                <a:spcPts val="2200"/>
              </a:lnSpc>
            </a:pPr>
            <a:endParaRPr lang="ru-RU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8C0DBC2-555B-7FA1-A51D-2B9B5FFDD9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96867" y="1748461"/>
            <a:ext cx="1080000" cy="1077963"/>
          </a:xfrm>
        </p:spPr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28A0039-8186-9390-8ED3-E7E567E79B3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96867" y="3163028"/>
            <a:ext cx="1080000" cy="1077963"/>
          </a:xfrm>
        </p:spPr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722364D-9970-A577-5A6D-3E2DDA9ED0D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96867" y="4605077"/>
            <a:ext cx="1080000" cy="1077963"/>
          </a:xfrm>
        </p:spPr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E4E68FD-8F77-768C-78AA-78ED38ADE05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534680" y="1737184"/>
            <a:ext cx="1080000" cy="1077963"/>
          </a:xfrm>
        </p:spPr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D3B8CD3-C506-E6DF-2EE8-FD3841EABD5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534680" y="3152770"/>
            <a:ext cx="1080000" cy="1077963"/>
          </a:xfrm>
        </p:spPr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E0AF7E1-55AE-4909-7CB6-A8E99CE7ECC4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534680" y="4593145"/>
            <a:ext cx="1080000" cy="1077963"/>
          </a:xfrm>
        </p:spPr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B23B9E-9AD6-3E21-AE04-9AFCF9F0CA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23AF624-7F6C-45B1-9F1F-4C345DDD526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9722A37-C0F7-5188-0407-BD67FD7A12C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pPr marL="0" indent="0">
              <a:buNone/>
            </a:pPr>
            <a:endParaRPr lang="ru-RU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EFE62CC-3B23-000D-B106-B54407857F7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pPr marL="0" indent="0">
              <a:buNone/>
            </a:pPr>
            <a:endParaRPr lang="ru-RU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23A2787-449E-47C8-476F-9B3115EDB70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pPr marL="0" indent="0">
              <a:buNone/>
            </a:pPr>
            <a:endParaRPr lang="ru-RU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3E9B731-A502-D3B6-B34B-637D979460B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pPr marL="0" indent="0">
              <a:buNone/>
            </a:pPr>
            <a:endParaRPr lang="ru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43FA43-A67A-B11F-0BC2-0F9B57DEC4EF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869471" y="2102421"/>
            <a:ext cx="3885286" cy="742987"/>
          </a:xfrm>
        </p:spPr>
        <p:txBody>
          <a:bodyPr/>
          <a:lstStyle/>
          <a:p>
            <a:pPr marL="0" indent="0">
              <a:buNone/>
            </a:pPr>
            <a:endParaRPr lang="ru-RU" sz="1400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50FE06B-E2DA-213D-7421-B668F6D65E0B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876095" y="3543095"/>
            <a:ext cx="3885286" cy="742987"/>
          </a:xfrm>
        </p:spPr>
        <p:txBody>
          <a:bodyPr/>
          <a:lstStyle/>
          <a:p>
            <a:pPr marL="0" indent="0">
              <a:buNone/>
            </a:pPr>
            <a:endParaRPr lang="ru-RU" sz="140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4434264-F781-3275-9FF9-08D37D2EC2D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876095" y="4981530"/>
            <a:ext cx="3885286" cy="742987"/>
          </a:xfrm>
        </p:spPr>
        <p:txBody>
          <a:bodyPr/>
          <a:lstStyle/>
          <a:p>
            <a:pPr marL="0" indent="0">
              <a:buNone/>
            </a:pPr>
            <a:endParaRPr lang="ru-RU" sz="140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B7F0531-9F0D-C324-5A90-9DB6EC59044C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795288" y="2120641"/>
            <a:ext cx="3885286" cy="742987"/>
          </a:xfrm>
        </p:spPr>
        <p:txBody>
          <a:bodyPr/>
          <a:lstStyle/>
          <a:p>
            <a:pPr marL="0" indent="0">
              <a:buNone/>
            </a:pPr>
            <a:endParaRPr lang="ru-RU" sz="140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04070C8-DCBD-FFAD-596C-5125C764B4FB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801912" y="3561315"/>
            <a:ext cx="3885286" cy="742987"/>
          </a:xfrm>
        </p:spPr>
        <p:txBody>
          <a:bodyPr/>
          <a:lstStyle/>
          <a:p>
            <a:pPr marL="0" indent="0">
              <a:buNone/>
            </a:pPr>
            <a:endParaRPr lang="ru-RU" sz="140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95271E50-CA9B-4B8F-A70A-AE6754E1F440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801912" y="4999750"/>
            <a:ext cx="3885286" cy="742987"/>
          </a:xfrm>
        </p:spPr>
        <p:txBody>
          <a:bodyPr/>
          <a:lstStyle/>
          <a:p>
            <a:pPr marL="0" indent="0">
              <a:buNone/>
            </a:pPr>
            <a:endParaRPr lang="ru-RU" sz="1400"/>
          </a:p>
        </p:txBody>
      </p:sp>
    </p:spTree>
    <p:extLst>
      <p:ext uri="{BB962C8B-B14F-4D97-AF65-F5344CB8AC3E}">
        <p14:creationId xmlns:p14="http://schemas.microsoft.com/office/powerpoint/2010/main" val="11206683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C3F9FE8-E99F-7114-A15C-E7CA7E815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Цели проекта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F183573-F3C4-9980-BA6A-9B073279B85D}"/>
              </a:ext>
            </a:extLst>
          </p:cNvPr>
          <p:cNvSpPr txBox="1"/>
          <p:nvPr/>
        </p:nvSpPr>
        <p:spPr>
          <a:xfrm>
            <a:off x="334963" y="1310446"/>
            <a:ext cx="11162015" cy="46535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dirty="0">
                <a:solidFill>
                  <a:schemeClr val="bg2"/>
                </a:solidFill>
              </a:rPr>
              <a:t>1. Проверить, реагируют ли шмели на стимулы</a:t>
            </a:r>
          </a:p>
          <a:p>
            <a:r>
              <a:rPr lang="ru-RU" dirty="0">
                <a:solidFill>
                  <a:schemeClr val="bg2"/>
                </a:solidFill>
              </a:rPr>
              <a:t>2. Уточнить, на какие именно стимулы они реагируют</a:t>
            </a:r>
          </a:p>
          <a:p>
            <a:r>
              <a:rPr lang="ru-RU" dirty="0">
                <a:solidFill>
                  <a:schemeClr val="bg2"/>
                </a:solidFill>
              </a:rPr>
              <a:t>3. Выяснить относительную привлекательность разных стимулов</a:t>
            </a:r>
          </a:p>
          <a:p>
            <a:r>
              <a:rPr lang="ru-RU" dirty="0">
                <a:solidFill>
                  <a:schemeClr val="bg2"/>
                </a:solidFill>
              </a:rPr>
              <a:t>4. Выяснить, можно ли декомпозировать стимул и проверить реакцию только на один компонент (изображение)</a:t>
            </a:r>
          </a:p>
        </p:txBody>
      </p:sp>
    </p:spTree>
    <p:extLst>
      <p:ext uri="{BB962C8B-B14F-4D97-AF65-F5344CB8AC3E}">
        <p14:creationId xmlns:p14="http://schemas.microsoft.com/office/powerpoint/2010/main" val="321993078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Title 60">
            <a:extLst>
              <a:ext uri="{FF2B5EF4-FFF2-40B4-BE49-F238E27FC236}">
                <a16:creationId xmlns:a16="http://schemas.microsoft.com/office/drawing/2014/main" id="{9E480C3C-122F-5DFB-0A9E-1F635B4415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357930"/>
            <a:ext cx="11243637" cy="59216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62" name="Subtitle 61">
            <a:extLst>
              <a:ext uri="{FF2B5EF4-FFF2-40B4-BE49-F238E27FC236}">
                <a16:creationId xmlns:a16="http://schemas.microsoft.com/office/drawing/2014/main" id="{0CDB705E-9EA9-FD4F-9A58-D10159D9D71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lnSpc>
                <a:spcPts val="2200"/>
              </a:lnSpc>
            </a:pPr>
            <a:endParaRPr lang="ru-RU"/>
          </a:p>
        </p:txBody>
      </p:sp>
      <p:sp>
        <p:nvSpPr>
          <p:cNvPr id="63" name="Picture Placeholder 62">
            <a:extLst>
              <a:ext uri="{FF2B5EF4-FFF2-40B4-BE49-F238E27FC236}">
                <a16:creationId xmlns:a16="http://schemas.microsoft.com/office/drawing/2014/main" id="{EE24C020-1D17-1825-858A-6E22D942B80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</p:sp>
      <p:sp>
        <p:nvSpPr>
          <p:cNvPr id="64" name="Picture Placeholder 63">
            <a:extLst>
              <a:ext uri="{FF2B5EF4-FFF2-40B4-BE49-F238E27FC236}">
                <a16:creationId xmlns:a16="http://schemas.microsoft.com/office/drawing/2014/main" id="{8075BA2A-A39A-F772-801C-CAB00CAEEAC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/>
      </p:sp>
      <p:sp>
        <p:nvSpPr>
          <p:cNvPr id="65" name="Picture Placeholder 64">
            <a:extLst>
              <a:ext uri="{FF2B5EF4-FFF2-40B4-BE49-F238E27FC236}">
                <a16:creationId xmlns:a16="http://schemas.microsoft.com/office/drawing/2014/main" id="{7CA5EDD1-6E3E-B948-9A53-622173B5EF9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</p:sp>
      <p:sp>
        <p:nvSpPr>
          <p:cNvPr id="66" name="Picture Placeholder 65">
            <a:extLst>
              <a:ext uri="{FF2B5EF4-FFF2-40B4-BE49-F238E27FC236}">
                <a16:creationId xmlns:a16="http://schemas.microsoft.com/office/drawing/2014/main" id="{4E9A08A3-5A2D-7C00-1EB7-C4D7D956BDC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/>
      </p:sp>
      <p:sp>
        <p:nvSpPr>
          <p:cNvPr id="67" name="Picture Placeholder 66">
            <a:extLst>
              <a:ext uri="{FF2B5EF4-FFF2-40B4-BE49-F238E27FC236}">
                <a16:creationId xmlns:a16="http://schemas.microsoft.com/office/drawing/2014/main" id="{57875114-48C7-DBC6-97B5-346EC2A00F0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/>
      </p: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id="{BF87404B-227F-3DF0-CE91-6CC96861697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/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78CD316C-C277-F8EF-F0A0-AB85C2C2978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89114A31-09F4-1B7F-7E0A-05FBDE80F01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6133B468-4F5B-2707-6D2A-BC51F88E92D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pPr marL="0" indent="0">
              <a:buNone/>
            </a:pPr>
            <a:endParaRPr lang="ru-RU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945176EB-1033-D7D2-3028-EC4046A3646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pPr marL="0" indent="0">
              <a:buNone/>
            </a:pPr>
            <a:endParaRPr lang="ru-RU"/>
          </a:p>
        </p:txBody>
      </p:sp>
      <p:sp>
        <p:nvSpPr>
          <p:cNvPr id="73" name="Text Placeholder 72">
            <a:extLst>
              <a:ext uri="{FF2B5EF4-FFF2-40B4-BE49-F238E27FC236}">
                <a16:creationId xmlns:a16="http://schemas.microsoft.com/office/drawing/2014/main" id="{309BC687-7900-72D9-DD07-465B9D96E00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74" name="Text Placeholder 73">
            <a:extLst>
              <a:ext uri="{FF2B5EF4-FFF2-40B4-BE49-F238E27FC236}">
                <a16:creationId xmlns:a16="http://schemas.microsoft.com/office/drawing/2014/main" id="{6C599D14-BF2B-16E2-2E00-A83323D2CB8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5" name="Text Placeholder 74">
            <a:extLst>
              <a:ext uri="{FF2B5EF4-FFF2-40B4-BE49-F238E27FC236}">
                <a16:creationId xmlns:a16="http://schemas.microsoft.com/office/drawing/2014/main" id="{F43E99C4-DD8A-A16B-2F0F-D23203E9D57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pPr marL="0" indent="0">
              <a:buNone/>
            </a:pPr>
            <a:endParaRPr lang="ru-RU"/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02079660-EF1C-D286-B243-3274D85F19E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6D05DB7F-4366-60CB-CE50-DB7E43A5EFEB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pPr marL="0" indent="0">
              <a:buNone/>
            </a:pPr>
            <a:endParaRPr lang="ru-RU"/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FE514DEB-C538-151F-5B93-B628A481EB8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pPr marL="0" indent="0">
              <a:buNone/>
            </a:pPr>
            <a:endParaRPr lang="ru-RU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6E507D5B-22C0-08C6-F8C5-3701251A8436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pPr marL="0" indent="0">
              <a:buNone/>
            </a:pPr>
            <a:endParaRPr lang="ru-RU"/>
          </a:p>
        </p:txBody>
      </p:sp>
      <p:sp>
        <p:nvSpPr>
          <p:cNvPr id="80" name="Text Placeholder 79">
            <a:extLst>
              <a:ext uri="{FF2B5EF4-FFF2-40B4-BE49-F238E27FC236}">
                <a16:creationId xmlns:a16="http://schemas.microsoft.com/office/drawing/2014/main" id="{5791DCB8-EC50-4D96-8A96-57281598B54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pPr marL="0" indent="0">
              <a:buNone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609587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32">
            <a:extLst>
              <a:ext uri="{FF2B5EF4-FFF2-40B4-BE49-F238E27FC236}">
                <a16:creationId xmlns:a16="http://schemas.microsoft.com/office/drawing/2014/main" id="{1077CAB7-20F5-5FE4-6D65-A8B86F38A5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0744200" cy="823813"/>
          </a:xfrm>
        </p:spPr>
        <p:txBody>
          <a:bodyPr anchor="t"/>
          <a:lstStyle/>
          <a:p>
            <a:endParaRPr lang="ru-RU" dirty="0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6D2CAAD6-5A00-8060-D3A5-8F1A48C123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8546" y="1192113"/>
            <a:ext cx="5343525" cy="668252"/>
          </a:xfrm>
        </p:spPr>
        <p:txBody>
          <a:bodyPr/>
          <a:lstStyle/>
          <a:p>
            <a:pPr>
              <a:lnSpc>
                <a:spcPts val="1400"/>
              </a:lnSpc>
            </a:pPr>
            <a:endParaRPr lang="ru-RU" dirty="0"/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9F4FCB32-5F02-8C2F-1B2F-E32BEE0E77E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E85AD4D7-C0C5-B920-565A-FB97C7C1D2A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/>
      </p:sp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1359ED43-986F-C95C-F55A-EA06CCE1CB0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C7CB30E6-9578-135D-AE9F-9529540F247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152415" y="5099053"/>
            <a:ext cx="2743306" cy="36512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258783D9-5E66-FAAC-C613-2C0C39283FF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152415" y="5447811"/>
            <a:ext cx="2743310" cy="860913"/>
          </a:xfrm>
        </p:spPr>
        <p:txBody>
          <a:bodyPr/>
          <a:lstStyle/>
          <a:p>
            <a:endParaRPr lang="ru-RU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12295876-5A9D-5C83-0AD1-20E156A42B0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673999" y="5082686"/>
            <a:ext cx="2843994" cy="36512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41FF1B51-30F9-D093-F0FA-8B20BA9DE7A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74000" y="5431444"/>
            <a:ext cx="2844000" cy="860913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626AFE73-C5F1-B107-6B9E-B13D742FA72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195573" y="5099053"/>
            <a:ext cx="2843995" cy="36512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C513CD2B-09EF-CEBE-EC02-96ACE0B2C51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95586" y="5447811"/>
            <a:ext cx="2844000" cy="860913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1585B5A5-B2CE-A3AF-4C9D-C41199AE8204}"/>
              </a:ext>
            </a:extLst>
          </p:cNvPr>
          <p:cNvSpPr txBox="1">
            <a:spLocks/>
          </p:cNvSpPr>
          <p:nvPr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accent3"/>
                </a:solidFill>
              </a:rPr>
              <a:t>Школа </a:t>
            </a:r>
            <a:r>
              <a:rPr lang="ru-RU" dirty="0" err="1">
                <a:solidFill>
                  <a:schemeClr val="accent3"/>
                </a:solidFill>
              </a:rPr>
              <a:t>Летово</a:t>
            </a:r>
            <a:r>
              <a:rPr lang="en-US" dirty="0">
                <a:solidFill>
                  <a:schemeClr val="accent3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accent3"/>
                </a:solidFill>
              </a:rPr>
              <a:pPr algn="r" defTabSz="914300"/>
              <a:t>31</a:t>
            </a:fld>
            <a:endParaRPr lang="ru-RU" dirty="0"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622475" y="2716115"/>
            <a:ext cx="2245312" cy="2241076"/>
          </a:xfrm>
          <a:custGeom>
            <a:avLst/>
            <a:gdLst/>
            <a:ahLst/>
            <a:cxnLst/>
            <a:rect l="l" t="t" r="r" b="b"/>
            <a:pathLst>
              <a:path w="3702684" h="3695700">
                <a:moveTo>
                  <a:pt x="2090509" y="3683000"/>
                </a:moveTo>
                <a:lnTo>
                  <a:pt x="1611639" y="3683000"/>
                </a:lnTo>
                <a:lnTo>
                  <a:pt x="1658849" y="3695700"/>
                </a:lnTo>
                <a:lnTo>
                  <a:pt x="2043299" y="3695700"/>
                </a:lnTo>
                <a:lnTo>
                  <a:pt x="2090509" y="3683000"/>
                </a:lnTo>
                <a:close/>
              </a:path>
              <a:path w="3702684" h="3695700">
                <a:moveTo>
                  <a:pt x="2229866" y="3657600"/>
                </a:moveTo>
                <a:lnTo>
                  <a:pt x="1472282" y="3657600"/>
                </a:lnTo>
                <a:lnTo>
                  <a:pt x="1564797" y="3683000"/>
                </a:lnTo>
                <a:lnTo>
                  <a:pt x="2137351" y="3683000"/>
                </a:lnTo>
                <a:lnTo>
                  <a:pt x="2229866" y="3657600"/>
                </a:lnTo>
                <a:close/>
              </a:path>
              <a:path w="3702684" h="3695700">
                <a:moveTo>
                  <a:pt x="2183808" y="25400"/>
                </a:moveTo>
                <a:lnTo>
                  <a:pt x="1518340" y="25400"/>
                </a:lnTo>
                <a:lnTo>
                  <a:pt x="1426638" y="50800"/>
                </a:lnTo>
                <a:lnTo>
                  <a:pt x="1162336" y="127000"/>
                </a:lnTo>
                <a:lnTo>
                  <a:pt x="1120021" y="152400"/>
                </a:lnTo>
                <a:lnTo>
                  <a:pt x="1078243" y="165100"/>
                </a:lnTo>
                <a:lnTo>
                  <a:pt x="1037016" y="190500"/>
                </a:lnTo>
                <a:lnTo>
                  <a:pt x="996357" y="203200"/>
                </a:lnTo>
                <a:lnTo>
                  <a:pt x="916799" y="254000"/>
                </a:lnTo>
                <a:lnTo>
                  <a:pt x="877932" y="279400"/>
                </a:lnTo>
                <a:lnTo>
                  <a:pt x="839693" y="304800"/>
                </a:lnTo>
                <a:lnTo>
                  <a:pt x="802096" y="330200"/>
                </a:lnTo>
                <a:lnTo>
                  <a:pt x="765159" y="355600"/>
                </a:lnTo>
                <a:lnTo>
                  <a:pt x="728895" y="381000"/>
                </a:lnTo>
                <a:lnTo>
                  <a:pt x="693319" y="406400"/>
                </a:lnTo>
                <a:lnTo>
                  <a:pt x="658448" y="431800"/>
                </a:lnTo>
                <a:lnTo>
                  <a:pt x="624297" y="469900"/>
                </a:lnTo>
                <a:lnTo>
                  <a:pt x="590880" y="495300"/>
                </a:lnTo>
                <a:lnTo>
                  <a:pt x="558213" y="520700"/>
                </a:lnTo>
                <a:lnTo>
                  <a:pt x="526311" y="558800"/>
                </a:lnTo>
                <a:lnTo>
                  <a:pt x="495189" y="596900"/>
                </a:lnTo>
                <a:lnTo>
                  <a:pt x="464863" y="622300"/>
                </a:lnTo>
                <a:lnTo>
                  <a:pt x="435347" y="660400"/>
                </a:lnTo>
                <a:lnTo>
                  <a:pt x="406658" y="698500"/>
                </a:lnTo>
                <a:lnTo>
                  <a:pt x="378810" y="723900"/>
                </a:lnTo>
                <a:lnTo>
                  <a:pt x="351819" y="762000"/>
                </a:lnTo>
                <a:lnTo>
                  <a:pt x="325700" y="800100"/>
                </a:lnTo>
                <a:lnTo>
                  <a:pt x="300467" y="838200"/>
                </a:lnTo>
                <a:lnTo>
                  <a:pt x="276137" y="876300"/>
                </a:lnTo>
                <a:lnTo>
                  <a:pt x="252724" y="914400"/>
                </a:lnTo>
                <a:lnTo>
                  <a:pt x="230245" y="952500"/>
                </a:lnTo>
                <a:lnTo>
                  <a:pt x="208713" y="990600"/>
                </a:lnTo>
                <a:lnTo>
                  <a:pt x="188144" y="1041400"/>
                </a:lnTo>
                <a:lnTo>
                  <a:pt x="168554" y="1079500"/>
                </a:lnTo>
                <a:lnTo>
                  <a:pt x="149958" y="1117600"/>
                </a:lnTo>
                <a:lnTo>
                  <a:pt x="132370" y="1168400"/>
                </a:lnTo>
                <a:lnTo>
                  <a:pt x="115807" y="1206500"/>
                </a:lnTo>
                <a:lnTo>
                  <a:pt x="100283" y="1244600"/>
                </a:lnTo>
                <a:lnTo>
                  <a:pt x="85814" y="1295400"/>
                </a:lnTo>
                <a:lnTo>
                  <a:pt x="72415" y="1333500"/>
                </a:lnTo>
                <a:lnTo>
                  <a:pt x="60101" y="1384300"/>
                </a:lnTo>
                <a:lnTo>
                  <a:pt x="48887" y="1422400"/>
                </a:lnTo>
                <a:lnTo>
                  <a:pt x="38790" y="1473200"/>
                </a:lnTo>
                <a:lnTo>
                  <a:pt x="29823" y="1524000"/>
                </a:lnTo>
                <a:lnTo>
                  <a:pt x="22002" y="1562100"/>
                </a:lnTo>
                <a:lnTo>
                  <a:pt x="15342" y="1612900"/>
                </a:lnTo>
                <a:lnTo>
                  <a:pt x="9860" y="1663700"/>
                </a:lnTo>
                <a:lnTo>
                  <a:pt x="5569" y="1701800"/>
                </a:lnTo>
                <a:lnTo>
                  <a:pt x="2485" y="1752600"/>
                </a:lnTo>
                <a:lnTo>
                  <a:pt x="623" y="1803400"/>
                </a:lnTo>
                <a:lnTo>
                  <a:pt x="0" y="1854200"/>
                </a:lnTo>
                <a:lnTo>
                  <a:pt x="623" y="1905000"/>
                </a:lnTo>
                <a:lnTo>
                  <a:pt x="2485" y="1943100"/>
                </a:lnTo>
                <a:lnTo>
                  <a:pt x="5569" y="1993900"/>
                </a:lnTo>
                <a:lnTo>
                  <a:pt x="9860" y="2044700"/>
                </a:lnTo>
                <a:lnTo>
                  <a:pt x="15342" y="2095500"/>
                </a:lnTo>
                <a:lnTo>
                  <a:pt x="22002" y="2133600"/>
                </a:lnTo>
                <a:lnTo>
                  <a:pt x="29823" y="2184400"/>
                </a:lnTo>
                <a:lnTo>
                  <a:pt x="38790" y="2235200"/>
                </a:lnTo>
                <a:lnTo>
                  <a:pt x="48887" y="2273300"/>
                </a:lnTo>
                <a:lnTo>
                  <a:pt x="60101" y="2324100"/>
                </a:lnTo>
                <a:lnTo>
                  <a:pt x="72415" y="2362200"/>
                </a:lnTo>
                <a:lnTo>
                  <a:pt x="85814" y="2413000"/>
                </a:lnTo>
                <a:lnTo>
                  <a:pt x="100283" y="2451100"/>
                </a:lnTo>
                <a:lnTo>
                  <a:pt x="115807" y="2501900"/>
                </a:lnTo>
                <a:lnTo>
                  <a:pt x="132370" y="2540000"/>
                </a:lnTo>
                <a:lnTo>
                  <a:pt x="149958" y="2578100"/>
                </a:lnTo>
                <a:lnTo>
                  <a:pt x="168554" y="2628900"/>
                </a:lnTo>
                <a:lnTo>
                  <a:pt x="188144" y="2667000"/>
                </a:lnTo>
                <a:lnTo>
                  <a:pt x="208713" y="2705100"/>
                </a:lnTo>
                <a:lnTo>
                  <a:pt x="230245" y="2743200"/>
                </a:lnTo>
                <a:lnTo>
                  <a:pt x="252724" y="2781300"/>
                </a:lnTo>
                <a:lnTo>
                  <a:pt x="276137" y="2819400"/>
                </a:lnTo>
                <a:lnTo>
                  <a:pt x="300467" y="2857500"/>
                </a:lnTo>
                <a:lnTo>
                  <a:pt x="325700" y="2895600"/>
                </a:lnTo>
                <a:lnTo>
                  <a:pt x="351819" y="2933700"/>
                </a:lnTo>
                <a:lnTo>
                  <a:pt x="378810" y="2971800"/>
                </a:lnTo>
                <a:lnTo>
                  <a:pt x="406658" y="3009900"/>
                </a:lnTo>
                <a:lnTo>
                  <a:pt x="435347" y="3048000"/>
                </a:lnTo>
                <a:lnTo>
                  <a:pt x="464863" y="3073400"/>
                </a:lnTo>
                <a:lnTo>
                  <a:pt x="495189" y="3111500"/>
                </a:lnTo>
                <a:lnTo>
                  <a:pt x="526311" y="3149600"/>
                </a:lnTo>
                <a:lnTo>
                  <a:pt x="558213" y="3175000"/>
                </a:lnTo>
                <a:lnTo>
                  <a:pt x="590880" y="3213100"/>
                </a:lnTo>
                <a:lnTo>
                  <a:pt x="624297" y="3238500"/>
                </a:lnTo>
                <a:lnTo>
                  <a:pt x="658448" y="3263900"/>
                </a:lnTo>
                <a:lnTo>
                  <a:pt x="693319" y="3289300"/>
                </a:lnTo>
                <a:lnTo>
                  <a:pt x="728895" y="3327400"/>
                </a:lnTo>
                <a:lnTo>
                  <a:pt x="765159" y="3352800"/>
                </a:lnTo>
                <a:lnTo>
                  <a:pt x="802096" y="3378200"/>
                </a:lnTo>
                <a:lnTo>
                  <a:pt x="839693" y="3403600"/>
                </a:lnTo>
                <a:lnTo>
                  <a:pt x="877932" y="3429000"/>
                </a:lnTo>
                <a:lnTo>
                  <a:pt x="916799" y="3454400"/>
                </a:lnTo>
                <a:lnTo>
                  <a:pt x="956279" y="3467100"/>
                </a:lnTo>
                <a:lnTo>
                  <a:pt x="1037016" y="3517900"/>
                </a:lnTo>
                <a:lnTo>
                  <a:pt x="1078243" y="3530600"/>
                </a:lnTo>
                <a:lnTo>
                  <a:pt x="1120021" y="3556000"/>
                </a:lnTo>
                <a:lnTo>
                  <a:pt x="1205172" y="3581400"/>
                </a:lnTo>
                <a:lnTo>
                  <a:pt x="1248514" y="3606800"/>
                </a:lnTo>
                <a:lnTo>
                  <a:pt x="1426638" y="3657600"/>
                </a:lnTo>
                <a:lnTo>
                  <a:pt x="2275510" y="3657600"/>
                </a:lnTo>
                <a:lnTo>
                  <a:pt x="2453634" y="3606800"/>
                </a:lnTo>
                <a:lnTo>
                  <a:pt x="2496976" y="3581400"/>
                </a:lnTo>
                <a:lnTo>
                  <a:pt x="2582127" y="3556000"/>
                </a:lnTo>
                <a:lnTo>
                  <a:pt x="2623905" y="3530600"/>
                </a:lnTo>
                <a:lnTo>
                  <a:pt x="2665132" y="3517900"/>
                </a:lnTo>
                <a:lnTo>
                  <a:pt x="2745869" y="3467100"/>
                </a:lnTo>
                <a:lnTo>
                  <a:pt x="2785349" y="3454400"/>
                </a:lnTo>
                <a:lnTo>
                  <a:pt x="2824216" y="3429000"/>
                </a:lnTo>
                <a:lnTo>
                  <a:pt x="2862456" y="3403600"/>
                </a:lnTo>
                <a:lnTo>
                  <a:pt x="2900052" y="3378200"/>
                </a:lnTo>
                <a:lnTo>
                  <a:pt x="2936989" y="3352800"/>
                </a:lnTo>
                <a:lnTo>
                  <a:pt x="2973254" y="3327400"/>
                </a:lnTo>
                <a:lnTo>
                  <a:pt x="3008829" y="3289300"/>
                </a:lnTo>
                <a:lnTo>
                  <a:pt x="3043700" y="3263900"/>
                </a:lnTo>
                <a:lnTo>
                  <a:pt x="3077851" y="3238500"/>
                </a:lnTo>
                <a:lnTo>
                  <a:pt x="3111268" y="3213100"/>
                </a:lnTo>
                <a:lnTo>
                  <a:pt x="3143936" y="3175000"/>
                </a:lnTo>
                <a:lnTo>
                  <a:pt x="3175838" y="3149600"/>
                </a:lnTo>
                <a:lnTo>
                  <a:pt x="3206959" y="3111500"/>
                </a:lnTo>
                <a:lnTo>
                  <a:pt x="3237285" y="3073400"/>
                </a:lnTo>
                <a:lnTo>
                  <a:pt x="3266801" y="3048000"/>
                </a:lnTo>
                <a:lnTo>
                  <a:pt x="3295490" y="3009900"/>
                </a:lnTo>
                <a:lnTo>
                  <a:pt x="3323338" y="2971800"/>
                </a:lnTo>
                <a:lnTo>
                  <a:pt x="3350329" y="2933700"/>
                </a:lnTo>
                <a:lnTo>
                  <a:pt x="3376448" y="2895600"/>
                </a:lnTo>
                <a:lnTo>
                  <a:pt x="3401681" y="2857500"/>
                </a:lnTo>
                <a:lnTo>
                  <a:pt x="3426011" y="2819400"/>
                </a:lnTo>
                <a:lnTo>
                  <a:pt x="3449424" y="2781300"/>
                </a:lnTo>
                <a:lnTo>
                  <a:pt x="3471904" y="2743200"/>
                </a:lnTo>
                <a:lnTo>
                  <a:pt x="3493435" y="2705100"/>
                </a:lnTo>
                <a:lnTo>
                  <a:pt x="3514004" y="2667000"/>
                </a:lnTo>
                <a:lnTo>
                  <a:pt x="3533594" y="2628900"/>
                </a:lnTo>
                <a:lnTo>
                  <a:pt x="3552191" y="2578100"/>
                </a:lnTo>
                <a:lnTo>
                  <a:pt x="3569778" y="2540000"/>
                </a:lnTo>
                <a:lnTo>
                  <a:pt x="3586341" y="2501900"/>
                </a:lnTo>
                <a:lnTo>
                  <a:pt x="3601865" y="2451100"/>
                </a:lnTo>
                <a:lnTo>
                  <a:pt x="3616334" y="2413000"/>
                </a:lnTo>
                <a:lnTo>
                  <a:pt x="3629733" y="2362200"/>
                </a:lnTo>
                <a:lnTo>
                  <a:pt x="3642047" y="2324100"/>
                </a:lnTo>
                <a:lnTo>
                  <a:pt x="3653261" y="2273300"/>
                </a:lnTo>
                <a:lnTo>
                  <a:pt x="3663358" y="2235200"/>
                </a:lnTo>
                <a:lnTo>
                  <a:pt x="3672325" y="2184400"/>
                </a:lnTo>
                <a:lnTo>
                  <a:pt x="3680146" y="2133600"/>
                </a:lnTo>
                <a:lnTo>
                  <a:pt x="3686806" y="2095500"/>
                </a:lnTo>
                <a:lnTo>
                  <a:pt x="3692288" y="2044700"/>
                </a:lnTo>
                <a:lnTo>
                  <a:pt x="3696579" y="1993900"/>
                </a:lnTo>
                <a:lnTo>
                  <a:pt x="3699663" y="1943100"/>
                </a:lnTo>
                <a:lnTo>
                  <a:pt x="3701525" y="1905000"/>
                </a:lnTo>
                <a:lnTo>
                  <a:pt x="3702149" y="1854200"/>
                </a:lnTo>
                <a:lnTo>
                  <a:pt x="3701525" y="1803400"/>
                </a:lnTo>
                <a:lnTo>
                  <a:pt x="3699663" y="1752600"/>
                </a:lnTo>
                <a:lnTo>
                  <a:pt x="3696579" y="1701800"/>
                </a:lnTo>
                <a:lnTo>
                  <a:pt x="3692288" y="1663700"/>
                </a:lnTo>
                <a:lnTo>
                  <a:pt x="3686806" y="1612900"/>
                </a:lnTo>
                <a:lnTo>
                  <a:pt x="3680146" y="1562100"/>
                </a:lnTo>
                <a:lnTo>
                  <a:pt x="3672325" y="1524000"/>
                </a:lnTo>
                <a:lnTo>
                  <a:pt x="3663358" y="1473200"/>
                </a:lnTo>
                <a:lnTo>
                  <a:pt x="3653261" y="1422400"/>
                </a:lnTo>
                <a:lnTo>
                  <a:pt x="3642047" y="1384300"/>
                </a:lnTo>
                <a:lnTo>
                  <a:pt x="3629733" y="1333500"/>
                </a:lnTo>
                <a:lnTo>
                  <a:pt x="3616334" y="1295400"/>
                </a:lnTo>
                <a:lnTo>
                  <a:pt x="3601865" y="1244600"/>
                </a:lnTo>
                <a:lnTo>
                  <a:pt x="3586341" y="1206500"/>
                </a:lnTo>
                <a:lnTo>
                  <a:pt x="3569778" y="1168400"/>
                </a:lnTo>
                <a:lnTo>
                  <a:pt x="3552191" y="1117600"/>
                </a:lnTo>
                <a:lnTo>
                  <a:pt x="3533594" y="1079500"/>
                </a:lnTo>
                <a:lnTo>
                  <a:pt x="3514004" y="1041400"/>
                </a:lnTo>
                <a:lnTo>
                  <a:pt x="3493435" y="990600"/>
                </a:lnTo>
                <a:lnTo>
                  <a:pt x="3471904" y="952500"/>
                </a:lnTo>
                <a:lnTo>
                  <a:pt x="3449424" y="914400"/>
                </a:lnTo>
                <a:lnTo>
                  <a:pt x="3426011" y="876300"/>
                </a:lnTo>
                <a:lnTo>
                  <a:pt x="3401681" y="838200"/>
                </a:lnTo>
                <a:lnTo>
                  <a:pt x="3376448" y="800100"/>
                </a:lnTo>
                <a:lnTo>
                  <a:pt x="3350329" y="762000"/>
                </a:lnTo>
                <a:lnTo>
                  <a:pt x="3323338" y="723900"/>
                </a:lnTo>
                <a:lnTo>
                  <a:pt x="3295490" y="698500"/>
                </a:lnTo>
                <a:lnTo>
                  <a:pt x="3266801" y="660400"/>
                </a:lnTo>
                <a:lnTo>
                  <a:pt x="3237285" y="622300"/>
                </a:lnTo>
                <a:lnTo>
                  <a:pt x="3206959" y="596900"/>
                </a:lnTo>
                <a:lnTo>
                  <a:pt x="3175838" y="558800"/>
                </a:lnTo>
                <a:lnTo>
                  <a:pt x="3143936" y="520700"/>
                </a:lnTo>
                <a:lnTo>
                  <a:pt x="3111268" y="495300"/>
                </a:lnTo>
                <a:lnTo>
                  <a:pt x="3077851" y="469900"/>
                </a:lnTo>
                <a:lnTo>
                  <a:pt x="3043700" y="431800"/>
                </a:lnTo>
                <a:lnTo>
                  <a:pt x="3008829" y="406400"/>
                </a:lnTo>
                <a:lnTo>
                  <a:pt x="2973254" y="381000"/>
                </a:lnTo>
                <a:lnTo>
                  <a:pt x="2936989" y="355600"/>
                </a:lnTo>
                <a:lnTo>
                  <a:pt x="2900052" y="330200"/>
                </a:lnTo>
                <a:lnTo>
                  <a:pt x="2862456" y="304800"/>
                </a:lnTo>
                <a:lnTo>
                  <a:pt x="2824216" y="279400"/>
                </a:lnTo>
                <a:lnTo>
                  <a:pt x="2785349" y="254000"/>
                </a:lnTo>
                <a:lnTo>
                  <a:pt x="2705791" y="203200"/>
                </a:lnTo>
                <a:lnTo>
                  <a:pt x="2665132" y="190500"/>
                </a:lnTo>
                <a:lnTo>
                  <a:pt x="2623905" y="165100"/>
                </a:lnTo>
                <a:lnTo>
                  <a:pt x="2582127" y="152400"/>
                </a:lnTo>
                <a:lnTo>
                  <a:pt x="2539812" y="127000"/>
                </a:lnTo>
                <a:lnTo>
                  <a:pt x="2275510" y="50800"/>
                </a:lnTo>
                <a:lnTo>
                  <a:pt x="2183808" y="25400"/>
                </a:lnTo>
                <a:close/>
              </a:path>
              <a:path w="3702684" h="3695700">
                <a:moveTo>
                  <a:pt x="2090509" y="12700"/>
                </a:moveTo>
                <a:lnTo>
                  <a:pt x="1611639" y="12700"/>
                </a:lnTo>
                <a:lnTo>
                  <a:pt x="1564797" y="25400"/>
                </a:lnTo>
                <a:lnTo>
                  <a:pt x="2137351" y="25400"/>
                </a:lnTo>
                <a:lnTo>
                  <a:pt x="2090509" y="12700"/>
                </a:lnTo>
                <a:close/>
              </a:path>
              <a:path w="3702684" h="3695700">
                <a:moveTo>
                  <a:pt x="1995735" y="0"/>
                </a:moveTo>
                <a:lnTo>
                  <a:pt x="1706413" y="0"/>
                </a:lnTo>
                <a:lnTo>
                  <a:pt x="1658849" y="12700"/>
                </a:lnTo>
                <a:lnTo>
                  <a:pt x="2043299" y="12700"/>
                </a:lnTo>
                <a:lnTo>
                  <a:pt x="1995735" y="0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pPr defTabSz="554492"/>
            <a:endParaRPr sz="1092" dirty="0">
              <a:solidFill>
                <a:prstClr val="black"/>
              </a:solidFill>
              <a:latin typeface="Segoe UI" panose="020B050204020402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A28DB48-B484-33BD-EF14-4250C23DC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0744200" cy="823813"/>
          </a:xfrm>
        </p:spPr>
        <p:txBody>
          <a:bodyPr anchor="t"/>
          <a:lstStyle/>
          <a:p>
            <a:endParaRPr lang="ru-RU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50959A-AF82-EE8A-5C68-3C45E1230C8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lnSpc>
                <a:spcPts val="1400"/>
              </a:lnSpc>
            </a:pPr>
            <a:endParaRPr lang="ru-R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2F9CD19-F7F7-C612-E5E8-7997C2595D5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9345" y="4584141"/>
            <a:ext cx="2444917" cy="1724584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D673B7A-018E-49B8-70F2-A16B1010EC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48329" y="4584141"/>
            <a:ext cx="2514542" cy="1724584"/>
          </a:xfrm>
        </p:spPr>
        <p:txBody>
          <a:bodyPr/>
          <a:lstStyle/>
          <a:p>
            <a:endParaRPr lang="ru-RU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2857329-F322-61F7-CD71-5491A3C6E5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9131" y="4584140"/>
            <a:ext cx="2514542" cy="172458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D69E1C-56BD-3034-7E00-FCA02501748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010578" y="4584139"/>
            <a:ext cx="2514542" cy="1724586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615158F-A19A-2F86-58A5-91EF0D82952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155A9A7-8B0B-27B8-063B-E17C208DE78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263090C-EDD6-486F-BE10-FB8A8426C09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BEDF4ED2-FBDA-E501-F090-2DC55B3C7D0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noFill/>
        </p:spPr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7137EFD-1823-DD7D-5937-798BC654FC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490" y="368300"/>
            <a:ext cx="10820538" cy="900213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9C9B4D6-D71C-5D48-7B58-2BD2894D5B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12609DB-8DAF-8307-C448-F7D0C8ED41D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FB690A-835D-EE55-5592-7E6FB4C1E0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5236E7A-6609-6AEC-C00C-90ACCB33F43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E1C4145-7908-F976-B62C-5EF52CA8ECD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Рисунок 3">
            <a:extLst>
              <a:ext uri="{FF2B5EF4-FFF2-40B4-BE49-F238E27FC236}">
                <a16:creationId xmlns:a16="http://schemas.microsoft.com/office/drawing/2014/main" id="{7780B4A4-DD39-4B46-8877-ED88CF71A26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D89E8010-04FF-4B47-A5ED-F097002BEC4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2B7225B7-0613-49ED-A2D8-A673E0549EB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19" name="Рисунок 18">
            <a:extLst>
              <a:ext uri="{FF2B5EF4-FFF2-40B4-BE49-F238E27FC236}">
                <a16:creationId xmlns:a16="http://schemas.microsoft.com/office/drawing/2014/main" id="{20F0184D-4D11-4997-ABD0-3F64DEA8CBA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</p:sp>
    </p:spTree>
    <p:extLst>
      <p:ext uri="{BB962C8B-B14F-4D97-AF65-F5344CB8AC3E}">
        <p14:creationId xmlns:p14="http://schemas.microsoft.com/office/powerpoint/2010/main" val="24143997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4F6F3AD-BEAE-5B7C-01E8-8834F6E7624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D8C175-504A-250B-AFF8-9B8842DA38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4" y="368300"/>
            <a:ext cx="10660134" cy="122614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586AAA-6A93-0A97-849D-15753B986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4" y="1604977"/>
            <a:ext cx="8150260" cy="571703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786175-97F2-1128-2F2D-DA9C5F6DE5C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C3EB1A9-F97E-EF92-FB9D-51EC9F7B9D1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7AA02CE-F07F-172C-B57B-9307F1B00F8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3643140-6203-8EB0-0C22-7174432F34D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D8A2257-9BBD-2CF0-AC7D-5CA4D13D8B0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/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CC68AD2-9D2C-ECE0-602B-E1DC002B8658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412990" y="4235779"/>
            <a:ext cx="2674937" cy="2072947"/>
          </a:xfrm>
        </p:spPr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3F64DE41-8426-BBD7-DC54-4DBE8C6FA2C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774581" y="4235779"/>
            <a:ext cx="2674937" cy="2072947"/>
          </a:xfrm>
        </p:spPr>
      </p:sp>
    </p:spTree>
    <p:extLst>
      <p:ext uri="{BB962C8B-B14F-4D97-AF65-F5344CB8AC3E}">
        <p14:creationId xmlns:p14="http://schemas.microsoft.com/office/powerpoint/2010/main" val="409481266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itle 52">
            <a:extLst>
              <a:ext uri="{FF2B5EF4-FFF2-40B4-BE49-F238E27FC236}">
                <a16:creationId xmlns:a16="http://schemas.microsoft.com/office/drawing/2014/main" id="{6C303B40-8D5D-9C6D-B766-A8A34D7E09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368300"/>
            <a:ext cx="11269662" cy="877070"/>
          </a:xfrm>
        </p:spPr>
        <p:txBody>
          <a:bodyPr/>
          <a:lstStyle/>
          <a:p>
            <a:endParaRPr lang="ru-RU"/>
          </a:p>
        </p:txBody>
      </p:sp>
      <p:sp>
        <p:nvSpPr>
          <p:cNvPr id="54" name="Picture Placeholder 53">
            <a:extLst>
              <a:ext uri="{FF2B5EF4-FFF2-40B4-BE49-F238E27FC236}">
                <a16:creationId xmlns:a16="http://schemas.microsoft.com/office/drawing/2014/main" id="{9EAF0C42-1AAD-FB4A-749F-D2BAAD355728}"/>
              </a:ext>
            </a:extLst>
          </p:cNvPr>
          <p:cNvSpPr>
            <a:spLocks noGrp="1"/>
          </p:cNvSpPr>
          <p:nvPr>
            <p:ph type="pic" idx="13"/>
          </p:nvPr>
        </p:nvSpPr>
        <p:spPr/>
      </p:sp>
      <p:sp>
        <p:nvSpPr>
          <p:cNvPr id="55" name="Picture Placeholder 54">
            <a:extLst>
              <a:ext uri="{FF2B5EF4-FFF2-40B4-BE49-F238E27FC236}">
                <a16:creationId xmlns:a16="http://schemas.microsoft.com/office/drawing/2014/main" id="{933970BD-AF4A-DD0E-6EC9-0962771F67B2}"/>
              </a:ext>
            </a:extLst>
          </p:cNvPr>
          <p:cNvSpPr>
            <a:spLocks noGrp="1"/>
          </p:cNvSpPr>
          <p:nvPr>
            <p:ph type="pic" idx="14"/>
          </p:nvPr>
        </p:nvSpPr>
        <p:spPr/>
      </p:sp>
      <p:sp>
        <p:nvSpPr>
          <p:cNvPr id="56" name="Picture Placeholder 55">
            <a:extLst>
              <a:ext uri="{FF2B5EF4-FFF2-40B4-BE49-F238E27FC236}">
                <a16:creationId xmlns:a16="http://schemas.microsoft.com/office/drawing/2014/main" id="{078D7D67-B6F7-AB70-C8B8-BCFF51F45F82}"/>
              </a:ext>
            </a:extLst>
          </p:cNvPr>
          <p:cNvSpPr>
            <a:spLocks noGrp="1"/>
          </p:cNvSpPr>
          <p:nvPr>
            <p:ph type="pic" idx="15"/>
          </p:nvPr>
        </p:nvSpPr>
        <p:spPr/>
      </p:sp>
      <p:sp>
        <p:nvSpPr>
          <p:cNvPr id="57" name="Picture Placeholder 56">
            <a:extLst>
              <a:ext uri="{FF2B5EF4-FFF2-40B4-BE49-F238E27FC236}">
                <a16:creationId xmlns:a16="http://schemas.microsoft.com/office/drawing/2014/main" id="{93D72F74-7AFE-B681-3037-806E48C1C7D1}"/>
              </a:ext>
            </a:extLst>
          </p:cNvPr>
          <p:cNvSpPr>
            <a:spLocks noGrp="1"/>
          </p:cNvSpPr>
          <p:nvPr>
            <p:ph type="pic" idx="16"/>
          </p:nvPr>
        </p:nvSpPr>
        <p:spPr/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B38833E5-13F2-F1A8-6914-A094A01C6C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0" name="Text Placeholder 59">
            <a:extLst>
              <a:ext uri="{FF2B5EF4-FFF2-40B4-BE49-F238E27FC236}">
                <a16:creationId xmlns:a16="http://schemas.microsoft.com/office/drawing/2014/main" id="{25256C81-F25B-FBE3-1D12-04C7B7A491A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1" name="Text Placeholder 60">
            <a:extLst>
              <a:ext uri="{FF2B5EF4-FFF2-40B4-BE49-F238E27FC236}">
                <a16:creationId xmlns:a16="http://schemas.microsoft.com/office/drawing/2014/main" id="{6DECF3D7-7C1A-46FC-ED81-E7F1EBA9549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F173A483-B1DC-08A6-ECA8-6BE01567CD7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DD99779D-6C17-D92D-1843-66AEC9F7344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6D0E08BB-E6A3-837A-A79E-4C35D9F740A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4" name="Text Placeholder 63">
            <a:extLst>
              <a:ext uri="{FF2B5EF4-FFF2-40B4-BE49-F238E27FC236}">
                <a16:creationId xmlns:a16="http://schemas.microsoft.com/office/drawing/2014/main" id="{4D7B8B5F-37B4-838B-6CE9-1E0797261DB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42502" y="5066643"/>
            <a:ext cx="2465569" cy="1242082"/>
          </a:xfrm>
        </p:spPr>
        <p:txBody>
          <a:bodyPr/>
          <a:lstStyle/>
          <a:p>
            <a:pPr marL="0" indent="0">
              <a:buNone/>
            </a:pPr>
            <a:endParaRPr lang="ru-RU" sz="1400" dirty="0"/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985F31F2-A6B9-D337-9BC7-7AC4ABD3ED5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6" name="Text Placeholder 65">
            <a:extLst>
              <a:ext uri="{FF2B5EF4-FFF2-40B4-BE49-F238E27FC236}">
                <a16:creationId xmlns:a16="http://schemas.microsoft.com/office/drawing/2014/main" id="{2E611F3B-4258-09AC-E177-8D473F9E4CC5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493192" y="5066643"/>
            <a:ext cx="2465569" cy="1242082"/>
          </a:xfrm>
        </p:spPr>
        <p:txBody>
          <a:bodyPr/>
          <a:lstStyle/>
          <a:p>
            <a:pPr marL="0" indent="0">
              <a:buNone/>
            </a:pPr>
            <a:endParaRPr lang="ru-RU" sz="1400"/>
          </a:p>
        </p:txBody>
      </p:sp>
      <p:sp>
        <p:nvSpPr>
          <p:cNvPr id="67" name="Text Placeholder 66">
            <a:extLst>
              <a:ext uri="{FF2B5EF4-FFF2-40B4-BE49-F238E27FC236}">
                <a16:creationId xmlns:a16="http://schemas.microsoft.com/office/drawing/2014/main" id="{C70CEC86-80A1-1698-32C8-7ECC2745EB3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8" name="Text Placeholder 67">
            <a:extLst>
              <a:ext uri="{FF2B5EF4-FFF2-40B4-BE49-F238E27FC236}">
                <a16:creationId xmlns:a16="http://schemas.microsoft.com/office/drawing/2014/main" id="{B69E7060-F51C-6D50-92DA-CB777E4DF2DD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227112" y="5066643"/>
            <a:ext cx="2465569" cy="1242082"/>
          </a:xfrm>
        </p:spPr>
        <p:txBody>
          <a:bodyPr/>
          <a:lstStyle/>
          <a:p>
            <a:pPr marL="0" indent="0">
              <a:buNone/>
            </a:pPr>
            <a:endParaRPr lang="ru-RU" sz="1400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79ED0A5E-FC0E-CBB2-165F-26F82262F430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17079815-8941-EFB4-AC1E-2E60AA31FC8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8985509" y="5066643"/>
            <a:ext cx="2465569" cy="1242082"/>
          </a:xfrm>
        </p:spPr>
        <p:txBody>
          <a:bodyPr/>
          <a:lstStyle/>
          <a:p>
            <a:pPr marL="0" indent="0">
              <a:buNone/>
            </a:pPr>
            <a:endParaRPr lang="ru-RU" sz="1400"/>
          </a:p>
        </p:txBody>
      </p:sp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469B094A-355D-C9D1-86F7-CCB4E118F3C3}"/>
              </a:ext>
            </a:extLst>
          </p:cNvPr>
          <p:cNvSpPr txBox="1">
            <a:spLocks/>
          </p:cNvSpPr>
          <p:nvPr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accent3"/>
                </a:solidFill>
              </a:rPr>
              <a:t>Школа </a:t>
            </a:r>
            <a:r>
              <a:rPr lang="ru-RU" dirty="0" err="1">
                <a:solidFill>
                  <a:schemeClr val="accent3"/>
                </a:solidFill>
              </a:rPr>
              <a:t>Летово</a:t>
            </a:r>
            <a:r>
              <a:rPr lang="en-US" dirty="0">
                <a:solidFill>
                  <a:schemeClr val="accent3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accent3"/>
                </a:solidFill>
              </a:rPr>
              <a:pPr algn="r" defTabSz="914300"/>
              <a:t>35</a:t>
            </a:fld>
            <a:endParaRPr lang="ru-RU" dirty="0"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F9A0550-3D6A-477E-469A-4D8B5978AA3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solidFill>
            <a:schemeClr val="bg1"/>
          </a:solidFill>
        </p:spPr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F9FD1C0-6913-0B65-4281-B5311A9F6413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solidFill>
            <a:schemeClr val="bg1"/>
          </a:solidFill>
        </p:spPr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C7B437D-2F45-DCFC-953D-23B95148BF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25" y="368300"/>
            <a:ext cx="3396937" cy="1689100"/>
          </a:xfrm>
        </p:spPr>
        <p:txBody>
          <a:bodyPr/>
          <a:lstStyle/>
          <a:p>
            <a:endParaRPr lang="ru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E51DF5-B59A-8AD2-CB41-7044EDC5DE5A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194FD47-2A93-ED12-CCE3-A3E886EB6193}"/>
              </a:ext>
            </a:extLst>
          </p:cNvPr>
          <p:cNvSpPr txBox="1">
            <a:spLocks/>
          </p:cNvSpPr>
          <p:nvPr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accent3"/>
                </a:solidFill>
              </a:rPr>
              <a:t>Школа </a:t>
            </a:r>
            <a:r>
              <a:rPr lang="ru-RU" dirty="0" err="1">
                <a:solidFill>
                  <a:schemeClr val="accent3"/>
                </a:solidFill>
              </a:rPr>
              <a:t>Летово</a:t>
            </a:r>
            <a:r>
              <a:rPr lang="en-US" dirty="0">
                <a:solidFill>
                  <a:schemeClr val="accent3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accent3"/>
                </a:solidFill>
              </a:rPr>
              <a:pPr algn="r" defTabSz="914300"/>
              <a:t>36</a:t>
            </a:fld>
            <a:endParaRPr lang="ru-RU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079264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3A4F25EB-E69C-AAC4-8E83-CD16A02A7F09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27FE77B-ED2F-BA6A-70D0-D19A97036138}"/>
              </a:ext>
            </a:extLst>
          </p:cNvPr>
          <p:cNvSpPr>
            <a:spLocks noGrp="1"/>
          </p:cNvSpPr>
          <p:nvPr>
            <p:ph type="pic" idx="13"/>
          </p:nvPr>
        </p:nvSpPr>
        <p:spPr/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7C12A8B-FA45-55EB-DE15-5953EE965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5800" y="368300"/>
            <a:ext cx="3439540" cy="1203325"/>
          </a:xfrm>
        </p:spPr>
        <p:txBody>
          <a:bodyPr/>
          <a:lstStyle/>
          <a:p>
            <a:endParaRPr lang="ru-RU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B90DC1B-EB12-3D97-667B-DE1170E028D4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536521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E43708BB-C69A-1D66-ABF2-009522256FE5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FD396DB-8736-392F-CA4B-51BA6073E027}"/>
              </a:ext>
            </a:extLst>
          </p:cNvPr>
          <p:cNvSpPr>
            <a:spLocks noGrp="1"/>
          </p:cNvSpPr>
          <p:nvPr>
            <p:ph type="pic" idx="13"/>
          </p:nvPr>
        </p:nvSpPr>
        <p:spPr/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22BA704-86E4-CA1D-B07D-A5E6F6D444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0075" y="368300"/>
            <a:ext cx="3384550" cy="1600200"/>
          </a:xfrm>
        </p:spPr>
        <p:txBody>
          <a:bodyPr/>
          <a:lstStyle/>
          <a:p>
            <a:endParaRPr lang="ru-RU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E27C198-8458-DEFC-E534-FCB2390FE3A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673511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F3C8A6F6-C255-29EC-DF92-5C4489225D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B5945BD-1937-9DEF-230A-C110B6469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190847DA-DA92-EA57-5582-4D8E3FCE4AB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67858A1-D594-A8B9-1BAB-442F80229E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E94A984-E032-905C-962C-81858C82A4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572831" y="1973967"/>
            <a:ext cx="3031794" cy="4135887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12B7C8E5-BA7A-1D9B-9354-DE691FEB46A6}"/>
              </a:ext>
            </a:extLst>
          </p:cNvPr>
          <p:cNvSpPr txBox="1">
            <a:spLocks/>
          </p:cNvSpPr>
          <p:nvPr/>
        </p:nvSpPr>
        <p:spPr>
          <a:xfrm>
            <a:off x="269771" y="3018023"/>
            <a:ext cx="3287402" cy="248733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7701" indent="-228600" algn="l" defTabSz="554492" rtl="0" eaLnBrk="1" latinLnBrk="0" hangingPunct="1">
              <a:lnSpc>
                <a:spcPct val="1173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400" kern="1200" spc="-15" dirty="0" smtClean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1pPr>
            <a:lvl2pPr marL="0" indent="0" algn="l" defTabSz="554492" rtl="0" eaLnBrk="1" latinLnBrk="0" hangingPunct="1">
              <a:lnSpc>
                <a:spcPct val="1173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sz="1000" kern="1200" spc="-15" dirty="0" smtClean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2pPr>
            <a:lvl3pPr marL="7701" indent="-228600" algn="l" defTabSz="554492" rtl="0" eaLnBrk="1" latinLnBrk="0" hangingPunct="1">
              <a:lnSpc>
                <a:spcPct val="1173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000" kern="1200" spc="-15" dirty="0" smtClean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3pPr>
            <a:lvl4pPr marL="7701" indent="-228600" algn="l" defTabSz="554492" rtl="0" eaLnBrk="1" latinLnBrk="0" hangingPunct="1">
              <a:lnSpc>
                <a:spcPct val="1173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000" kern="1200" spc="-15" dirty="0" smtClean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4pPr>
            <a:lvl5pPr marL="7701" indent="-228600" algn="l" defTabSz="554492" rtl="0" eaLnBrk="1" latinLnBrk="0" hangingPunct="1">
              <a:lnSpc>
                <a:spcPct val="1173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ru-RU" sz="1000" kern="1200" spc="-15" dirty="0">
                <a:solidFill>
                  <a:srgbClr val="FFFFFF"/>
                </a:solidFill>
                <a:latin typeface="+mn-lt"/>
                <a:ea typeface="+mn-ea"/>
                <a:cs typeface="Source Sans Pro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0" name="object 10">
            <a:extLst>
              <a:ext uri="{FF2B5EF4-FFF2-40B4-BE49-F238E27FC236}">
                <a16:creationId xmlns:a16="http://schemas.microsoft.com/office/drawing/2014/main" id="{81489A9D-EBF7-3AAD-BDD4-842E62AA2AB9}"/>
              </a:ext>
            </a:extLst>
          </p:cNvPr>
          <p:cNvSpPr txBox="1">
            <a:spLocks/>
          </p:cNvSpPr>
          <p:nvPr/>
        </p:nvSpPr>
        <p:spPr>
          <a:xfrm>
            <a:off x="525691" y="464715"/>
            <a:ext cx="3738476" cy="1226571"/>
          </a:xfrm>
          <a:prstGeom prst="rect">
            <a:avLst/>
          </a:prstGeom>
        </p:spPr>
        <p:txBody>
          <a:bodyPr vert="horz" wrap="square" lIns="0" tIns="7701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7701">
              <a:spcBef>
                <a:spcPts val="61"/>
              </a:spcBef>
            </a:pPr>
            <a:r>
              <a:rPr lang="ru-RU" sz="8800" dirty="0">
                <a:solidFill>
                  <a:schemeClr val="tx1"/>
                </a:solidFill>
              </a:rPr>
              <a:t>+3,5%</a:t>
            </a:r>
          </a:p>
        </p:txBody>
      </p:sp>
    </p:spTree>
    <p:extLst>
      <p:ext uri="{BB962C8B-B14F-4D97-AF65-F5344CB8AC3E}">
        <p14:creationId xmlns:p14="http://schemas.microsoft.com/office/powerpoint/2010/main" val="30488525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1BCA8E4-60E2-532D-A620-617892454E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ru-RU" dirty="0"/>
              <a:t>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82183D7-7BD4-D9F0-6BA0-891E850E92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чему обучение шмелей – это важно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DD85854-0009-8E34-D0D4-C78441B785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962" y="1122082"/>
            <a:ext cx="8581002" cy="474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150302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9A3F6B-FF21-02CB-4676-D9FA093931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366401"/>
            <a:ext cx="4148137" cy="1824349"/>
          </a:xfrm>
        </p:spPr>
        <p:txBody>
          <a:bodyPr/>
          <a:lstStyle/>
          <a:p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40B5F4-1DCE-F401-CAD2-0C1D0F84FBEF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8B5C5F-3AFA-A87E-7BBC-4B5C6E5BC0C9}"/>
              </a:ext>
            </a:extLst>
          </p:cNvPr>
          <p:cNvSpPr>
            <a:spLocks noGrp="1"/>
          </p:cNvSpPr>
          <p:nvPr>
            <p:ph type="body" sz="half" idx="28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474549-F494-32C6-2CCA-73673FDD0837}"/>
              </a:ext>
            </a:extLst>
          </p:cNvPr>
          <p:cNvSpPr>
            <a:spLocks noGrp="1"/>
          </p:cNvSpPr>
          <p:nvPr>
            <p:ph type="body" sz="half" idx="3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22D38B6-F7FB-1F3E-2DE6-36C9AE40948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D7954FC-E5D3-08A6-291C-D379D227988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62BACF8-637C-F735-4673-C647A8B3B68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B29912A-A8D5-44BB-6EC0-EE2F25F64C6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9675627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33">
            <a:extLst>
              <a:ext uri="{FF2B5EF4-FFF2-40B4-BE49-F238E27FC236}">
                <a16:creationId xmlns:a16="http://schemas.microsoft.com/office/drawing/2014/main" id="{5459B511-0C2C-7E62-B7BF-3A73EC36F1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368300"/>
            <a:ext cx="4148137" cy="185102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1FBFBF95-998F-B732-F080-085F928DA452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BCECFF78-42E2-E38D-EED4-DB4DEB11750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7DB4E649-9DB2-91CD-FCD7-A9869CCFF792}"/>
              </a:ext>
            </a:extLst>
          </p:cNvPr>
          <p:cNvSpPr>
            <a:spLocks noGrp="1"/>
          </p:cNvSpPr>
          <p:nvPr>
            <p:ph type="body" sz="half" idx="2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0C081C22-4B4C-B80B-EC47-120DBAE46A4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C57BA25C-2756-0082-4FAD-D838706FEC66}"/>
              </a:ext>
            </a:extLst>
          </p:cNvPr>
          <p:cNvSpPr>
            <a:spLocks noGrp="1"/>
          </p:cNvSpPr>
          <p:nvPr>
            <p:ph type="body" sz="half" idx="2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B4AD959A-3263-1D00-84C7-1DEC8C75DFD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24190D0F-27BE-9018-BEEA-E844BCEB1FBA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3307469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B9636B-C015-5D82-3435-B82C39A54B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744200" cy="905410"/>
          </a:xfrm>
        </p:spPr>
        <p:txBody>
          <a:bodyPr/>
          <a:lstStyle/>
          <a:p>
            <a:endParaRPr lang="ru-RU" dirty="0"/>
          </a:p>
        </p:txBody>
      </p:sp>
      <p:graphicFrame>
        <p:nvGraphicFramePr>
          <p:cNvPr id="27" name="Content Placeholder 26">
            <a:extLst>
              <a:ext uri="{FF2B5EF4-FFF2-40B4-BE49-F238E27FC236}">
                <a16:creationId xmlns:a16="http://schemas.microsoft.com/office/drawing/2014/main" id="{3683D013-3CC4-E81C-0138-F507F261EDE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00231872"/>
              </p:ext>
            </p:extLst>
          </p:nvPr>
        </p:nvGraphicFramePr>
        <p:xfrm>
          <a:off x="838199" y="1825625"/>
          <a:ext cx="10766425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70192246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E3BE503-8BB9-E83B-A358-E8A4364D0B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68300"/>
            <a:ext cx="10602689" cy="902235"/>
          </a:xfrm>
        </p:spPr>
        <p:txBody>
          <a:bodyPr/>
          <a:lstStyle/>
          <a:p>
            <a:endParaRPr lang="ru-RU" dirty="0"/>
          </a:p>
        </p:txBody>
      </p:sp>
      <p:graphicFrame>
        <p:nvGraphicFramePr>
          <p:cNvPr id="6" name="Content Placeholder 26">
            <a:extLst>
              <a:ext uri="{FF2B5EF4-FFF2-40B4-BE49-F238E27FC236}">
                <a16:creationId xmlns:a16="http://schemas.microsoft.com/office/drawing/2014/main" id="{55BFF143-4CD2-A923-06B2-C5434EF02F5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81627889"/>
              </p:ext>
            </p:extLst>
          </p:nvPr>
        </p:nvGraphicFramePr>
        <p:xfrm>
          <a:off x="838200" y="1825625"/>
          <a:ext cx="105918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3998383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B9636B-C015-5D82-3435-B82C39A54B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744200" cy="1325563"/>
          </a:xfrm>
        </p:spPr>
        <p:txBody>
          <a:bodyPr/>
          <a:lstStyle/>
          <a:p>
            <a:endParaRPr lang="ru-RU" sz="3200" dirty="0"/>
          </a:p>
        </p:txBody>
      </p:sp>
      <p:graphicFrame>
        <p:nvGraphicFramePr>
          <p:cNvPr id="27" name="Content Placeholder 26">
            <a:extLst>
              <a:ext uri="{FF2B5EF4-FFF2-40B4-BE49-F238E27FC236}">
                <a16:creationId xmlns:a16="http://schemas.microsoft.com/office/drawing/2014/main" id="{3683D013-3CC4-E81C-0138-F507F261EDE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78522382"/>
              </p:ext>
            </p:extLst>
          </p:nvPr>
        </p:nvGraphicFramePr>
        <p:xfrm>
          <a:off x="838200" y="1825625"/>
          <a:ext cx="52578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ontent Placeholder 26">
            <a:extLst>
              <a:ext uri="{FF2B5EF4-FFF2-40B4-BE49-F238E27FC236}">
                <a16:creationId xmlns:a16="http://schemas.microsoft.com/office/drawing/2014/main" id="{55BFF143-4CD2-A923-06B2-C5434EF02F5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38043477"/>
              </p:ext>
            </p:extLst>
          </p:nvPr>
        </p:nvGraphicFramePr>
        <p:xfrm>
          <a:off x="6172200" y="1825625"/>
          <a:ext cx="52578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Oval 2">
            <a:extLst>
              <a:ext uri="{FF2B5EF4-FFF2-40B4-BE49-F238E27FC236}">
                <a16:creationId xmlns:a16="http://schemas.microsoft.com/office/drawing/2014/main" id="{54783125-9B80-8C8C-AFD7-0BA8B98E6A88}"/>
              </a:ext>
            </a:extLst>
          </p:cNvPr>
          <p:cNvSpPr/>
          <p:nvPr/>
        </p:nvSpPr>
        <p:spPr>
          <a:xfrm>
            <a:off x="1535429" y="2541268"/>
            <a:ext cx="3303271" cy="3303271"/>
          </a:xfrm>
          <a:prstGeom prst="ellipse">
            <a:avLst/>
          </a:prstGeom>
          <a:noFill/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131F90F-2CA0-F6D1-046C-998152D9DD7B}"/>
              </a:ext>
            </a:extLst>
          </p:cNvPr>
          <p:cNvSpPr/>
          <p:nvPr/>
        </p:nvSpPr>
        <p:spPr>
          <a:xfrm>
            <a:off x="2503169" y="3486148"/>
            <a:ext cx="1375412" cy="1375412"/>
          </a:xfrm>
          <a:prstGeom prst="ellipse">
            <a:avLst/>
          </a:prstGeom>
          <a:noFill/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1950B55-1D26-83F7-18B5-F7612581EBA1}"/>
              </a:ext>
            </a:extLst>
          </p:cNvPr>
          <p:cNvSpPr/>
          <p:nvPr/>
        </p:nvSpPr>
        <p:spPr>
          <a:xfrm>
            <a:off x="8191500" y="3063240"/>
            <a:ext cx="182880" cy="182880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DFB801D-4760-3B62-758A-DD541F8C9197}"/>
              </a:ext>
            </a:extLst>
          </p:cNvPr>
          <p:cNvSpPr/>
          <p:nvPr/>
        </p:nvSpPr>
        <p:spPr>
          <a:xfrm>
            <a:off x="7840980" y="4831080"/>
            <a:ext cx="182880" cy="182880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4DBA9C9-9D1D-06BE-3C1E-0C7546B37B99}"/>
              </a:ext>
            </a:extLst>
          </p:cNvPr>
          <p:cNvSpPr/>
          <p:nvPr/>
        </p:nvSpPr>
        <p:spPr>
          <a:xfrm>
            <a:off x="9220200" y="5227320"/>
            <a:ext cx="182880" cy="182880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E0F81AD-954D-A51C-3726-920414553414}"/>
              </a:ext>
            </a:extLst>
          </p:cNvPr>
          <p:cNvSpPr/>
          <p:nvPr/>
        </p:nvSpPr>
        <p:spPr>
          <a:xfrm>
            <a:off x="9966960" y="3841355"/>
            <a:ext cx="182880" cy="182880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448589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B9636B-C015-5D82-3435-B82C39A54B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744200" cy="1325563"/>
          </a:xfrm>
        </p:spPr>
        <p:txBody>
          <a:bodyPr/>
          <a:lstStyle/>
          <a:p>
            <a:endParaRPr lang="ru-RU" sz="3200" dirty="0"/>
          </a:p>
        </p:txBody>
      </p:sp>
      <p:graphicFrame>
        <p:nvGraphicFramePr>
          <p:cNvPr id="27" name="Content Placeholder 26">
            <a:extLst>
              <a:ext uri="{FF2B5EF4-FFF2-40B4-BE49-F238E27FC236}">
                <a16:creationId xmlns:a16="http://schemas.microsoft.com/office/drawing/2014/main" id="{3683D013-3CC4-E81C-0138-F507F261EDE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60487512"/>
              </p:ext>
            </p:extLst>
          </p:nvPr>
        </p:nvGraphicFramePr>
        <p:xfrm>
          <a:off x="838200" y="1825625"/>
          <a:ext cx="107442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2131752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B9636B-C015-5D82-3435-B82C39A54B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744200" cy="1325563"/>
          </a:xfrm>
        </p:spPr>
        <p:txBody>
          <a:bodyPr/>
          <a:lstStyle/>
          <a:p>
            <a:endParaRPr lang="ru-RU" sz="3200" dirty="0"/>
          </a:p>
        </p:txBody>
      </p:sp>
      <p:graphicFrame>
        <p:nvGraphicFramePr>
          <p:cNvPr id="27" name="Content Placeholder 26">
            <a:extLst>
              <a:ext uri="{FF2B5EF4-FFF2-40B4-BE49-F238E27FC236}">
                <a16:creationId xmlns:a16="http://schemas.microsoft.com/office/drawing/2014/main" id="{3683D013-3CC4-E81C-0138-F507F261EDE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24571737"/>
              </p:ext>
            </p:extLst>
          </p:nvPr>
        </p:nvGraphicFramePr>
        <p:xfrm>
          <a:off x="927100" y="1825625"/>
          <a:ext cx="52578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ontent Placeholder 26">
            <a:extLst>
              <a:ext uri="{FF2B5EF4-FFF2-40B4-BE49-F238E27FC236}">
                <a16:creationId xmlns:a16="http://schemas.microsoft.com/office/drawing/2014/main" id="{155F9202-0887-BB58-627D-B8DFAC28F0F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22742435"/>
              </p:ext>
            </p:extLst>
          </p:nvPr>
        </p:nvGraphicFramePr>
        <p:xfrm>
          <a:off x="6324600" y="1825625"/>
          <a:ext cx="52578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07521644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B9636B-C015-5D82-3435-B82C39A54B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744200" cy="1325563"/>
          </a:xfrm>
        </p:spPr>
        <p:txBody>
          <a:bodyPr/>
          <a:lstStyle/>
          <a:p>
            <a:endParaRPr lang="ru-RU" sz="3200" dirty="0"/>
          </a:p>
        </p:txBody>
      </p:sp>
      <p:graphicFrame>
        <p:nvGraphicFramePr>
          <p:cNvPr id="27" name="Content Placeholder 26">
            <a:extLst>
              <a:ext uri="{FF2B5EF4-FFF2-40B4-BE49-F238E27FC236}">
                <a16:creationId xmlns:a16="http://schemas.microsoft.com/office/drawing/2014/main" id="{3683D013-3CC4-E81C-0138-F507F261EDE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18578619"/>
              </p:ext>
            </p:extLst>
          </p:nvPr>
        </p:nvGraphicFramePr>
        <p:xfrm>
          <a:off x="838200" y="1825625"/>
          <a:ext cx="52578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ontent Placeholder 26">
            <a:extLst>
              <a:ext uri="{FF2B5EF4-FFF2-40B4-BE49-F238E27FC236}">
                <a16:creationId xmlns:a16="http://schemas.microsoft.com/office/drawing/2014/main" id="{155F9202-0887-BB58-627D-B8DFAC28F0F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27710"/>
              </p:ext>
            </p:extLst>
          </p:nvPr>
        </p:nvGraphicFramePr>
        <p:xfrm>
          <a:off x="6324600" y="1825625"/>
          <a:ext cx="52578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27168623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B9636B-C015-5D82-3435-B82C39A54B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898525"/>
          </a:xfrm>
        </p:spPr>
        <p:txBody>
          <a:bodyPr/>
          <a:lstStyle/>
          <a:p>
            <a:endParaRPr lang="ru-RU" sz="3200" dirty="0"/>
          </a:p>
        </p:txBody>
      </p:sp>
      <p:graphicFrame>
        <p:nvGraphicFramePr>
          <p:cNvPr id="27" name="Content Placeholder 26">
            <a:extLst>
              <a:ext uri="{FF2B5EF4-FFF2-40B4-BE49-F238E27FC236}">
                <a16:creationId xmlns:a16="http://schemas.microsoft.com/office/drawing/2014/main" id="{3683D013-3CC4-E81C-0138-F507F261EDE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6592621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76494965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 descr="White circle">
            <a:extLst>
              <a:ext uri="{FF2B5EF4-FFF2-40B4-BE49-F238E27FC236}">
                <a16:creationId xmlns:a16="http://schemas.microsoft.com/office/drawing/2014/main" id="{E10F3DCC-07E6-4D59-A431-A1635C969E18}"/>
              </a:ext>
            </a:extLst>
          </p:cNvPr>
          <p:cNvSpPr/>
          <p:nvPr/>
        </p:nvSpPr>
        <p:spPr>
          <a:xfrm>
            <a:off x="3814456" y="1611824"/>
            <a:ext cx="4494508" cy="4494508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9" name="Content Placeholder 24" descr="Chart">
            <a:extLst>
              <a:ext uri="{FF2B5EF4-FFF2-40B4-BE49-F238E27FC236}">
                <a16:creationId xmlns:a16="http://schemas.microsoft.com/office/drawing/2014/main" id="{EE0E2830-BDA5-4A5D-AA0B-457EF9EC979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65579648"/>
              </p:ext>
            </p:extLst>
          </p:nvPr>
        </p:nvGraphicFramePr>
        <p:xfrm>
          <a:off x="2485867" y="1699285"/>
          <a:ext cx="7151687" cy="4319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object 7">
            <a:extLst>
              <a:ext uri="{FF2B5EF4-FFF2-40B4-BE49-F238E27FC236}">
                <a16:creationId xmlns:a16="http://schemas.microsoft.com/office/drawing/2014/main" id="{6DD0B30C-F1A1-40A8-9594-1507194835FB}"/>
              </a:ext>
            </a:extLst>
          </p:cNvPr>
          <p:cNvSpPr txBox="1"/>
          <p:nvPr/>
        </p:nvSpPr>
        <p:spPr>
          <a:xfrm>
            <a:off x="9619003" y="2456426"/>
            <a:ext cx="1611159" cy="682238"/>
          </a:xfrm>
          <a:prstGeom prst="rect">
            <a:avLst/>
          </a:prstGeom>
        </p:spPr>
        <p:txBody>
          <a:bodyPr vert="horz" wrap="square" lIns="0" tIns="43180" rIns="0" bIns="0" rtlCol="0">
            <a:spAutoFit/>
          </a:bodyPr>
          <a:lstStyle/>
          <a:p>
            <a:pPr marL="12700" algn="r">
              <a:spcBef>
                <a:spcPts val="340"/>
              </a:spcBef>
            </a:pPr>
            <a:r>
              <a:rPr lang="en-US" sz="1400" i="1" spc="15" dirty="0">
                <a:solidFill>
                  <a:schemeClr val="accent6">
                    <a:lumMod val="75000"/>
                  </a:schemeClr>
                </a:solidFill>
                <a:cs typeface="Segoe UI" panose="020B0502040204020203" pitchFamily="34" charset="0"/>
              </a:rPr>
              <a:t>LEASE DEPOSIT</a:t>
            </a:r>
          </a:p>
          <a:p>
            <a:pPr marL="12700" algn="r">
              <a:spcBef>
                <a:spcPts val="340"/>
              </a:spcBef>
            </a:pPr>
            <a:r>
              <a:rPr lang="en-US" sz="2500" b="1" dirty="0">
                <a:solidFill>
                  <a:schemeClr val="accent6">
                    <a:lumMod val="75000"/>
                  </a:schemeClr>
                </a:solidFill>
                <a:latin typeface="+mj-lt"/>
              </a:rPr>
              <a:t>1%</a:t>
            </a:r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9ABE18D1-B25D-4F04-AA11-E2867D9659EB}"/>
              </a:ext>
            </a:extLst>
          </p:cNvPr>
          <p:cNvSpPr txBox="1"/>
          <p:nvPr/>
        </p:nvSpPr>
        <p:spPr>
          <a:xfrm>
            <a:off x="896535" y="5290701"/>
            <a:ext cx="2303011" cy="695062"/>
          </a:xfrm>
          <a:prstGeom prst="rect">
            <a:avLst/>
          </a:prstGeom>
        </p:spPr>
        <p:txBody>
          <a:bodyPr vert="horz" wrap="square" lIns="0" tIns="43180" rIns="0" bIns="0" rtlCol="0">
            <a:spAutoFit/>
          </a:bodyPr>
          <a:lstStyle/>
          <a:p>
            <a:pPr marL="12700">
              <a:spcBef>
                <a:spcPts val="340"/>
              </a:spcBef>
            </a:pPr>
            <a:r>
              <a:rPr lang="en-US" sz="1400" i="1" spc="15" dirty="0">
                <a:solidFill>
                  <a:schemeClr val="accent6"/>
                </a:solidFill>
                <a:cs typeface="Segoe UI" panose="020B0502040204020203" pitchFamily="34" charset="0"/>
              </a:rPr>
              <a:t>EQUIPMENT</a:t>
            </a:r>
          </a:p>
          <a:p>
            <a:pPr marL="12700">
              <a:lnSpc>
                <a:spcPct val="100000"/>
              </a:lnSpc>
              <a:spcBef>
                <a:spcPts val="340"/>
              </a:spcBef>
            </a:pPr>
            <a:r>
              <a:rPr lang="en-US" sz="2500" b="1" dirty="0">
                <a:solidFill>
                  <a:schemeClr val="accent6"/>
                </a:solidFill>
                <a:latin typeface="+mj-lt"/>
              </a:rPr>
              <a:t>X%</a:t>
            </a:r>
          </a:p>
        </p:txBody>
      </p:sp>
      <p:sp>
        <p:nvSpPr>
          <p:cNvPr id="12" name="object 9">
            <a:extLst>
              <a:ext uri="{FF2B5EF4-FFF2-40B4-BE49-F238E27FC236}">
                <a16:creationId xmlns:a16="http://schemas.microsoft.com/office/drawing/2014/main" id="{162C1FC1-CA02-4B79-910C-21012DAC265F}"/>
              </a:ext>
            </a:extLst>
          </p:cNvPr>
          <p:cNvSpPr txBox="1"/>
          <p:nvPr/>
        </p:nvSpPr>
        <p:spPr>
          <a:xfrm>
            <a:off x="8645020" y="4144126"/>
            <a:ext cx="2585142" cy="704850"/>
          </a:xfrm>
          <a:prstGeom prst="rect">
            <a:avLst/>
          </a:prstGeom>
        </p:spPr>
        <p:txBody>
          <a:bodyPr vert="horz" wrap="square" lIns="0" tIns="43180" rIns="0" bIns="0" rtlCol="0">
            <a:spAutoFit/>
          </a:bodyPr>
          <a:lstStyle/>
          <a:p>
            <a:pPr marL="12700" algn="r">
              <a:spcBef>
                <a:spcPts val="340"/>
              </a:spcBef>
            </a:pPr>
            <a:r>
              <a:rPr lang="en-US" sz="1400" i="1" spc="15" dirty="0">
                <a:solidFill>
                  <a:schemeClr val="accent6">
                    <a:lumMod val="75000"/>
                  </a:schemeClr>
                </a:solidFill>
                <a:cs typeface="Segoe UI" panose="020B0502040204020203" pitchFamily="34" charset="0"/>
              </a:rPr>
              <a:t>IMPROVEMENTS</a:t>
            </a:r>
          </a:p>
          <a:p>
            <a:pPr marL="12700" algn="r">
              <a:lnSpc>
                <a:spcPct val="100000"/>
              </a:lnSpc>
              <a:spcBef>
                <a:spcPts val="340"/>
              </a:spcBef>
            </a:pPr>
            <a:r>
              <a:rPr lang="en-US" sz="2500" b="1" dirty="0">
                <a:solidFill>
                  <a:schemeClr val="accent6">
                    <a:lumMod val="75000"/>
                  </a:schemeClr>
                </a:solidFill>
                <a:latin typeface="+mj-lt"/>
              </a:rPr>
              <a:t>20%</a:t>
            </a:r>
          </a:p>
        </p:txBody>
      </p:sp>
      <p:sp>
        <p:nvSpPr>
          <p:cNvPr id="13" name="object 7">
            <a:extLst>
              <a:ext uri="{FF2B5EF4-FFF2-40B4-BE49-F238E27FC236}">
                <a16:creationId xmlns:a16="http://schemas.microsoft.com/office/drawing/2014/main" id="{C2B4FF8B-5A63-4FAF-8405-67A6CAF4E097}"/>
              </a:ext>
            </a:extLst>
          </p:cNvPr>
          <p:cNvSpPr txBox="1"/>
          <p:nvPr/>
        </p:nvSpPr>
        <p:spPr>
          <a:xfrm>
            <a:off x="896536" y="2577990"/>
            <a:ext cx="2467642" cy="682238"/>
          </a:xfrm>
          <a:prstGeom prst="rect">
            <a:avLst/>
          </a:prstGeom>
        </p:spPr>
        <p:txBody>
          <a:bodyPr vert="horz" wrap="square" lIns="0" tIns="43180" rIns="0" bIns="0" rtlCol="0">
            <a:spAutoFit/>
          </a:bodyPr>
          <a:lstStyle/>
          <a:p>
            <a:pPr marL="12700">
              <a:spcBef>
                <a:spcPts val="340"/>
              </a:spcBef>
            </a:pPr>
            <a:r>
              <a:rPr lang="en-US" sz="1400" i="1" spc="15" dirty="0">
                <a:solidFill>
                  <a:schemeClr val="accent6"/>
                </a:solidFill>
                <a:cs typeface="Segoe UI" panose="020B0502040204020203" pitchFamily="34" charset="0"/>
              </a:rPr>
              <a:t>WEBSITE DEVELOPMENT</a:t>
            </a:r>
          </a:p>
          <a:p>
            <a:pPr marL="12700">
              <a:lnSpc>
                <a:spcPct val="100000"/>
              </a:lnSpc>
              <a:spcBef>
                <a:spcPts val="340"/>
              </a:spcBef>
            </a:pPr>
            <a:r>
              <a:rPr lang="en-US" sz="2500" b="1" dirty="0">
                <a:solidFill>
                  <a:schemeClr val="accent6"/>
                </a:solidFill>
                <a:latin typeface="+mj-lt"/>
                <a:cs typeface="Avenir Black"/>
              </a:rPr>
              <a:t>$2%</a:t>
            </a:r>
            <a:endParaRPr lang="en-US" sz="2500" dirty="0">
              <a:solidFill>
                <a:schemeClr val="accent6"/>
              </a:solidFill>
              <a:latin typeface="+mj-lt"/>
              <a:cs typeface="Avenir Black"/>
            </a:endParaRPr>
          </a:p>
        </p:txBody>
      </p:sp>
      <p:cxnSp>
        <p:nvCxnSpPr>
          <p:cNvPr id="14" name="Straight Connector 13" descr="White line">
            <a:extLst>
              <a:ext uri="{FF2B5EF4-FFF2-40B4-BE49-F238E27FC236}">
                <a16:creationId xmlns:a16="http://schemas.microsoft.com/office/drawing/2014/main" id="{6F8B1F32-B483-4EDD-BF48-F9BA6DF6F5E6}"/>
              </a:ext>
            </a:extLst>
          </p:cNvPr>
          <p:cNvCxnSpPr>
            <a:cxnSpLocks/>
          </p:cNvCxnSpPr>
          <p:nvPr/>
        </p:nvCxnSpPr>
        <p:spPr>
          <a:xfrm>
            <a:off x="1732515" y="3048852"/>
            <a:ext cx="2376000" cy="0"/>
          </a:xfrm>
          <a:prstGeom prst="line">
            <a:avLst/>
          </a:prstGeom>
          <a:ln w="127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 descr="White line">
            <a:extLst>
              <a:ext uri="{FF2B5EF4-FFF2-40B4-BE49-F238E27FC236}">
                <a16:creationId xmlns:a16="http://schemas.microsoft.com/office/drawing/2014/main" id="{244F867F-C0A0-494C-AAEE-CF7514F09273}"/>
              </a:ext>
            </a:extLst>
          </p:cNvPr>
          <p:cNvCxnSpPr>
            <a:cxnSpLocks/>
          </p:cNvCxnSpPr>
          <p:nvPr/>
        </p:nvCxnSpPr>
        <p:spPr>
          <a:xfrm>
            <a:off x="1732515" y="5748963"/>
            <a:ext cx="3561436" cy="0"/>
          </a:xfrm>
          <a:prstGeom prst="line">
            <a:avLst/>
          </a:prstGeom>
          <a:ln w="127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 descr="White line">
            <a:extLst>
              <a:ext uri="{FF2B5EF4-FFF2-40B4-BE49-F238E27FC236}">
                <a16:creationId xmlns:a16="http://schemas.microsoft.com/office/drawing/2014/main" id="{50206829-F2BC-4545-ABB9-778BF1687654}"/>
              </a:ext>
            </a:extLst>
          </p:cNvPr>
          <p:cNvCxnSpPr>
            <a:cxnSpLocks/>
          </p:cNvCxnSpPr>
          <p:nvPr/>
        </p:nvCxnSpPr>
        <p:spPr>
          <a:xfrm>
            <a:off x="8079196" y="2944678"/>
            <a:ext cx="2269860" cy="0"/>
          </a:xfrm>
          <a:prstGeom prst="line">
            <a:avLst/>
          </a:prstGeom>
          <a:ln w="127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 descr="White line">
            <a:extLst>
              <a:ext uri="{FF2B5EF4-FFF2-40B4-BE49-F238E27FC236}">
                <a16:creationId xmlns:a16="http://schemas.microsoft.com/office/drawing/2014/main" id="{C6015BCB-7C9F-497D-8406-6C7B9AD4EDB5}"/>
              </a:ext>
            </a:extLst>
          </p:cNvPr>
          <p:cNvCxnSpPr>
            <a:cxnSpLocks/>
          </p:cNvCxnSpPr>
          <p:nvPr/>
        </p:nvCxnSpPr>
        <p:spPr>
          <a:xfrm>
            <a:off x="8079196" y="4601654"/>
            <a:ext cx="2316875" cy="0"/>
          </a:xfrm>
          <a:prstGeom prst="line">
            <a:avLst/>
          </a:prstGeom>
          <a:ln w="127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object 9">
            <a:extLst>
              <a:ext uri="{FF2B5EF4-FFF2-40B4-BE49-F238E27FC236}">
                <a16:creationId xmlns:a16="http://schemas.microsoft.com/office/drawing/2014/main" id="{5852F861-60AD-4058-8816-BFDA17B26136}"/>
              </a:ext>
            </a:extLst>
          </p:cNvPr>
          <p:cNvSpPr txBox="1"/>
          <p:nvPr/>
        </p:nvSpPr>
        <p:spPr>
          <a:xfrm>
            <a:off x="8802660" y="5010586"/>
            <a:ext cx="2427502" cy="897682"/>
          </a:xfrm>
          <a:prstGeom prst="rect">
            <a:avLst/>
          </a:prstGeom>
        </p:spPr>
        <p:txBody>
          <a:bodyPr vert="horz" wrap="square" lIns="0" tIns="43180" rIns="0" bIns="0" rtlCol="0">
            <a:spAutoFit/>
          </a:bodyPr>
          <a:lstStyle/>
          <a:p>
            <a:pPr marL="12700" algn="r">
              <a:spcBef>
                <a:spcPts val="340"/>
              </a:spcBef>
            </a:pPr>
            <a:r>
              <a:rPr lang="en-US" sz="1400" i="1" spc="15" dirty="0">
                <a:solidFill>
                  <a:schemeClr val="accent4"/>
                </a:solidFill>
                <a:cs typeface="Segoe UI" panose="020B0502040204020203" pitchFamily="34" charset="0"/>
              </a:rPr>
              <a:t>PROFESSIONAL</a:t>
            </a:r>
            <a:br>
              <a:rPr lang="en-US" sz="1400" i="1" spc="15" dirty="0">
                <a:solidFill>
                  <a:schemeClr val="accent4"/>
                </a:solidFill>
                <a:cs typeface="Segoe UI" panose="020B0502040204020203" pitchFamily="34" charset="0"/>
              </a:rPr>
            </a:br>
            <a:r>
              <a:rPr lang="en-US" sz="1400" i="1" spc="15" dirty="0">
                <a:solidFill>
                  <a:schemeClr val="accent4"/>
                </a:solidFill>
                <a:cs typeface="Segoe UI" panose="020B0502040204020203" pitchFamily="34" charset="0"/>
              </a:rPr>
              <a:t>BUSINESS INSURANCE</a:t>
            </a:r>
          </a:p>
          <a:p>
            <a:pPr marL="12700" algn="r">
              <a:spcBef>
                <a:spcPts val="340"/>
              </a:spcBef>
            </a:pPr>
            <a:r>
              <a:rPr lang="en-US" sz="2500" b="1" dirty="0">
                <a:solidFill>
                  <a:schemeClr val="accent4"/>
                </a:solidFill>
                <a:latin typeface="+mj-lt"/>
              </a:rPr>
              <a:t>2%</a:t>
            </a:r>
          </a:p>
        </p:txBody>
      </p:sp>
      <p:cxnSp>
        <p:nvCxnSpPr>
          <p:cNvPr id="19" name="Straight Connector 18" descr="White line">
            <a:extLst>
              <a:ext uri="{FF2B5EF4-FFF2-40B4-BE49-F238E27FC236}">
                <a16:creationId xmlns:a16="http://schemas.microsoft.com/office/drawing/2014/main" id="{438959A8-EA4D-4EB2-A3CD-C9493D0F65BC}"/>
              </a:ext>
            </a:extLst>
          </p:cNvPr>
          <p:cNvCxnSpPr>
            <a:cxnSpLocks/>
          </p:cNvCxnSpPr>
          <p:nvPr/>
        </p:nvCxnSpPr>
        <p:spPr>
          <a:xfrm>
            <a:off x="7222853" y="5748963"/>
            <a:ext cx="3173218" cy="0"/>
          </a:xfrm>
          <a:prstGeom prst="line">
            <a:avLst/>
          </a:prstGeom>
          <a:ln w="127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bject 7">
            <a:extLst>
              <a:ext uri="{FF2B5EF4-FFF2-40B4-BE49-F238E27FC236}">
                <a16:creationId xmlns:a16="http://schemas.microsoft.com/office/drawing/2014/main" id="{E95CDAA1-B856-4B7D-A732-B69075108ABE}"/>
              </a:ext>
            </a:extLst>
          </p:cNvPr>
          <p:cNvSpPr txBox="1"/>
          <p:nvPr/>
        </p:nvSpPr>
        <p:spPr>
          <a:xfrm>
            <a:off x="888318" y="4386464"/>
            <a:ext cx="2467642" cy="682238"/>
          </a:xfrm>
          <a:prstGeom prst="rect">
            <a:avLst/>
          </a:prstGeom>
        </p:spPr>
        <p:txBody>
          <a:bodyPr vert="horz" wrap="square" lIns="0" tIns="43180" rIns="0" bIns="0" rtlCol="0">
            <a:spAutoFit/>
          </a:bodyPr>
          <a:lstStyle/>
          <a:p>
            <a:pPr marL="12700">
              <a:spcBef>
                <a:spcPts val="340"/>
              </a:spcBef>
            </a:pPr>
            <a:r>
              <a:rPr lang="en-US" sz="1400" i="1" spc="15" dirty="0">
                <a:solidFill>
                  <a:schemeClr val="accent2"/>
                </a:solidFill>
                <a:cs typeface="Segoe UI" panose="020B0502040204020203" pitchFamily="34" charset="0"/>
              </a:rPr>
              <a:t>MARKETING</a:t>
            </a:r>
          </a:p>
          <a:p>
            <a:pPr marL="12700">
              <a:lnSpc>
                <a:spcPct val="100000"/>
              </a:lnSpc>
              <a:spcBef>
                <a:spcPts val="340"/>
              </a:spcBef>
            </a:pPr>
            <a:r>
              <a:rPr lang="en-US" sz="2500" b="1" dirty="0">
                <a:solidFill>
                  <a:schemeClr val="accent2"/>
                </a:solidFill>
                <a:latin typeface="+mj-lt"/>
                <a:cs typeface="Avenir Black"/>
              </a:rPr>
              <a:t>4%</a:t>
            </a:r>
            <a:endParaRPr lang="en-US" sz="2500" dirty="0">
              <a:solidFill>
                <a:schemeClr val="accent2"/>
              </a:solidFill>
              <a:latin typeface="+mj-lt"/>
              <a:cs typeface="Avenir Black"/>
            </a:endParaRPr>
          </a:p>
        </p:txBody>
      </p:sp>
      <p:cxnSp>
        <p:nvCxnSpPr>
          <p:cNvPr id="21" name="Straight Connector 20" descr="White line">
            <a:extLst>
              <a:ext uri="{FF2B5EF4-FFF2-40B4-BE49-F238E27FC236}">
                <a16:creationId xmlns:a16="http://schemas.microsoft.com/office/drawing/2014/main" id="{1FF2DCBA-CB65-4176-BE37-1673711A32F7}"/>
              </a:ext>
            </a:extLst>
          </p:cNvPr>
          <p:cNvCxnSpPr>
            <a:cxnSpLocks/>
          </p:cNvCxnSpPr>
          <p:nvPr/>
        </p:nvCxnSpPr>
        <p:spPr>
          <a:xfrm>
            <a:off x="1732515" y="4848926"/>
            <a:ext cx="2484000" cy="0"/>
          </a:xfrm>
          <a:prstGeom prst="line">
            <a:avLst/>
          </a:prstGeom>
          <a:ln w="127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bject 7">
            <a:extLst>
              <a:ext uri="{FF2B5EF4-FFF2-40B4-BE49-F238E27FC236}">
                <a16:creationId xmlns:a16="http://schemas.microsoft.com/office/drawing/2014/main" id="{6C83E084-67D6-42AD-B8A0-34F2E75BC6A6}"/>
              </a:ext>
            </a:extLst>
          </p:cNvPr>
          <p:cNvSpPr txBox="1"/>
          <p:nvPr/>
        </p:nvSpPr>
        <p:spPr>
          <a:xfrm>
            <a:off x="888318" y="3482227"/>
            <a:ext cx="2467642" cy="682238"/>
          </a:xfrm>
          <a:prstGeom prst="rect">
            <a:avLst/>
          </a:prstGeom>
        </p:spPr>
        <p:txBody>
          <a:bodyPr vert="horz" wrap="square" lIns="0" tIns="43180" rIns="0" bIns="0" rtlCol="0">
            <a:spAutoFit/>
          </a:bodyPr>
          <a:lstStyle/>
          <a:p>
            <a:pPr marL="12700">
              <a:spcBef>
                <a:spcPts val="340"/>
              </a:spcBef>
            </a:pPr>
            <a:r>
              <a:rPr lang="en-US" sz="1400" i="1" spc="15" dirty="0">
                <a:solidFill>
                  <a:schemeClr val="accent1"/>
                </a:solidFill>
                <a:cs typeface="Segoe UI" panose="020B0502040204020203" pitchFamily="34" charset="0"/>
              </a:rPr>
              <a:t>WORKING CAPITAL</a:t>
            </a:r>
          </a:p>
          <a:p>
            <a:pPr marL="12700">
              <a:lnSpc>
                <a:spcPct val="100000"/>
              </a:lnSpc>
              <a:spcBef>
                <a:spcPts val="340"/>
              </a:spcBef>
            </a:pPr>
            <a:r>
              <a:rPr lang="en-US" sz="2500" b="1" dirty="0">
                <a:solidFill>
                  <a:schemeClr val="accent1"/>
                </a:solidFill>
                <a:latin typeface="+mj-lt"/>
                <a:cs typeface="Avenir Black"/>
              </a:rPr>
              <a:t>28%</a:t>
            </a:r>
            <a:endParaRPr lang="en-US" sz="2500" dirty="0">
              <a:solidFill>
                <a:schemeClr val="accent1"/>
              </a:solidFill>
              <a:latin typeface="+mj-lt"/>
              <a:cs typeface="Avenir Black"/>
            </a:endParaRPr>
          </a:p>
        </p:txBody>
      </p:sp>
      <p:cxnSp>
        <p:nvCxnSpPr>
          <p:cNvPr id="23" name="Straight Connector 22" descr="White line">
            <a:extLst>
              <a:ext uri="{FF2B5EF4-FFF2-40B4-BE49-F238E27FC236}">
                <a16:creationId xmlns:a16="http://schemas.microsoft.com/office/drawing/2014/main" id="{9E50C003-CBEF-4240-91F0-42CC5D4B7EC2}"/>
              </a:ext>
            </a:extLst>
          </p:cNvPr>
          <p:cNvCxnSpPr>
            <a:cxnSpLocks/>
          </p:cNvCxnSpPr>
          <p:nvPr/>
        </p:nvCxnSpPr>
        <p:spPr>
          <a:xfrm>
            <a:off x="1732515" y="3948889"/>
            <a:ext cx="2232000" cy="0"/>
          </a:xfrm>
          <a:prstGeom prst="line">
            <a:avLst/>
          </a:prstGeom>
          <a:ln w="127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bject 7">
            <a:extLst>
              <a:ext uri="{FF2B5EF4-FFF2-40B4-BE49-F238E27FC236}">
                <a16:creationId xmlns:a16="http://schemas.microsoft.com/office/drawing/2014/main" id="{0E5F339A-D84A-4789-AEF8-EE5F151DA19D}"/>
              </a:ext>
            </a:extLst>
          </p:cNvPr>
          <p:cNvSpPr txBox="1"/>
          <p:nvPr/>
        </p:nvSpPr>
        <p:spPr>
          <a:xfrm>
            <a:off x="8954727" y="1612576"/>
            <a:ext cx="2275435" cy="682238"/>
          </a:xfrm>
          <a:prstGeom prst="rect">
            <a:avLst/>
          </a:prstGeom>
        </p:spPr>
        <p:txBody>
          <a:bodyPr vert="horz" wrap="square" lIns="0" tIns="43180" rIns="0" bIns="0" rtlCol="0">
            <a:spAutoFit/>
          </a:bodyPr>
          <a:lstStyle/>
          <a:p>
            <a:pPr marL="12700" algn="r">
              <a:spcBef>
                <a:spcPts val="340"/>
              </a:spcBef>
            </a:pPr>
            <a:r>
              <a:rPr lang="en-US" sz="1400" i="1" spc="15" dirty="0">
                <a:solidFill>
                  <a:schemeClr val="accent6"/>
                </a:solidFill>
                <a:cs typeface="Segoe UI" panose="020B0502040204020203" pitchFamily="34" charset="0"/>
              </a:rPr>
              <a:t>INITIAL LEASE PAYMENT</a:t>
            </a:r>
          </a:p>
          <a:p>
            <a:pPr marL="12700" algn="r">
              <a:spcBef>
                <a:spcPts val="340"/>
              </a:spcBef>
            </a:pPr>
            <a:r>
              <a:rPr lang="en-US" sz="2500" b="1" dirty="0">
                <a:solidFill>
                  <a:schemeClr val="accent6"/>
                </a:solidFill>
                <a:latin typeface="+mj-lt"/>
              </a:rPr>
              <a:t>3%</a:t>
            </a:r>
          </a:p>
        </p:txBody>
      </p:sp>
      <p:cxnSp>
        <p:nvCxnSpPr>
          <p:cNvPr id="25" name="Straight Connector 24" descr="White line">
            <a:extLst>
              <a:ext uri="{FF2B5EF4-FFF2-40B4-BE49-F238E27FC236}">
                <a16:creationId xmlns:a16="http://schemas.microsoft.com/office/drawing/2014/main" id="{8225D414-BFA0-4BE0-A075-349795A4D97C}"/>
              </a:ext>
            </a:extLst>
          </p:cNvPr>
          <p:cNvCxnSpPr>
            <a:cxnSpLocks/>
          </p:cNvCxnSpPr>
          <p:nvPr/>
        </p:nvCxnSpPr>
        <p:spPr>
          <a:xfrm>
            <a:off x="7427748" y="2103136"/>
            <a:ext cx="2921308" cy="0"/>
          </a:xfrm>
          <a:prstGeom prst="line">
            <a:avLst/>
          </a:prstGeom>
          <a:ln w="127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bject 7">
            <a:extLst>
              <a:ext uri="{FF2B5EF4-FFF2-40B4-BE49-F238E27FC236}">
                <a16:creationId xmlns:a16="http://schemas.microsoft.com/office/drawing/2014/main" id="{2083A730-A815-4FBF-BA3B-83209E0FA6E7}"/>
              </a:ext>
            </a:extLst>
          </p:cNvPr>
          <p:cNvSpPr txBox="1"/>
          <p:nvPr/>
        </p:nvSpPr>
        <p:spPr>
          <a:xfrm>
            <a:off x="896536" y="1673753"/>
            <a:ext cx="2467642" cy="682238"/>
          </a:xfrm>
          <a:prstGeom prst="rect">
            <a:avLst/>
          </a:prstGeom>
        </p:spPr>
        <p:txBody>
          <a:bodyPr vert="horz" wrap="square" lIns="0" tIns="4318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40"/>
              </a:spcBef>
            </a:pPr>
            <a:r>
              <a:rPr lang="en-US" sz="1400" i="1" spc="15" dirty="0">
                <a:solidFill>
                  <a:schemeClr val="bg1"/>
                </a:solidFill>
                <a:cs typeface="Segoe UI" panose="020B0502040204020203" pitchFamily="34" charset="0"/>
              </a:rPr>
              <a:t>MISCELLANEOUS COSTS</a:t>
            </a:r>
            <a:endParaRPr lang="en-US" sz="1400" i="1" spc="20" dirty="0">
              <a:solidFill>
                <a:schemeClr val="bg1"/>
              </a:solidFill>
              <a:cs typeface="Segoe UI" panose="020B0502040204020203" pitchFamily="34" charset="0"/>
            </a:endParaRPr>
          </a:p>
          <a:p>
            <a:pPr marL="12700">
              <a:lnSpc>
                <a:spcPct val="100000"/>
              </a:lnSpc>
              <a:spcBef>
                <a:spcPts val="340"/>
              </a:spcBef>
            </a:pPr>
            <a:r>
              <a:rPr lang="en-US" sz="2500" b="1" dirty="0">
                <a:solidFill>
                  <a:schemeClr val="bg1"/>
                </a:solidFill>
                <a:latin typeface="+mj-lt"/>
                <a:cs typeface="Avenir Black"/>
              </a:rPr>
              <a:t>$8%</a:t>
            </a:r>
            <a:endParaRPr lang="en-US" sz="2500" dirty="0">
              <a:solidFill>
                <a:schemeClr val="bg1"/>
              </a:solidFill>
              <a:latin typeface="+mj-lt"/>
              <a:cs typeface="Avenir Black"/>
            </a:endParaRPr>
          </a:p>
        </p:txBody>
      </p:sp>
      <p:cxnSp>
        <p:nvCxnSpPr>
          <p:cNvPr id="27" name="Straight Connector 26" descr="White line">
            <a:extLst>
              <a:ext uri="{FF2B5EF4-FFF2-40B4-BE49-F238E27FC236}">
                <a16:creationId xmlns:a16="http://schemas.microsoft.com/office/drawing/2014/main" id="{B52030EA-F303-4D12-803A-7194E56AE705}"/>
              </a:ext>
            </a:extLst>
          </p:cNvPr>
          <p:cNvCxnSpPr>
            <a:cxnSpLocks/>
          </p:cNvCxnSpPr>
          <p:nvPr/>
        </p:nvCxnSpPr>
        <p:spPr>
          <a:xfrm>
            <a:off x="1732515" y="2148815"/>
            <a:ext cx="3060000" cy="0"/>
          </a:xfrm>
          <a:prstGeom prst="line">
            <a:avLst/>
          </a:prstGeom>
          <a:ln w="127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bject 7">
            <a:extLst>
              <a:ext uri="{FF2B5EF4-FFF2-40B4-BE49-F238E27FC236}">
                <a16:creationId xmlns:a16="http://schemas.microsoft.com/office/drawing/2014/main" id="{053BB3C8-B371-4A0F-A954-6D331E3A72E5}"/>
              </a:ext>
            </a:extLst>
          </p:cNvPr>
          <p:cNvSpPr txBox="1"/>
          <p:nvPr/>
        </p:nvSpPr>
        <p:spPr>
          <a:xfrm>
            <a:off x="9650341" y="3300276"/>
            <a:ext cx="1611159" cy="682238"/>
          </a:xfrm>
          <a:prstGeom prst="rect">
            <a:avLst/>
          </a:prstGeom>
        </p:spPr>
        <p:txBody>
          <a:bodyPr vert="horz" wrap="square" lIns="0" tIns="43180" rIns="0" bIns="0" rtlCol="0">
            <a:spAutoFit/>
          </a:bodyPr>
          <a:lstStyle/>
          <a:p>
            <a:pPr marL="12700" algn="r">
              <a:spcBef>
                <a:spcPts val="340"/>
              </a:spcBef>
            </a:pPr>
            <a:r>
              <a:rPr lang="en-US" sz="1400" i="1" spc="15" dirty="0">
                <a:solidFill>
                  <a:schemeClr val="accent5"/>
                </a:solidFill>
                <a:cs typeface="Segoe UI" panose="020B0502040204020203" pitchFamily="34" charset="0"/>
              </a:rPr>
              <a:t>FF&amp;E</a:t>
            </a:r>
          </a:p>
          <a:p>
            <a:pPr marL="12700" algn="r">
              <a:spcBef>
                <a:spcPts val="340"/>
              </a:spcBef>
            </a:pPr>
            <a:r>
              <a:rPr lang="en-US" sz="2500" b="1" dirty="0">
                <a:solidFill>
                  <a:schemeClr val="accent5"/>
                </a:solidFill>
                <a:latin typeface="+mj-lt"/>
              </a:rPr>
              <a:t>24%</a:t>
            </a:r>
          </a:p>
        </p:txBody>
      </p:sp>
      <p:cxnSp>
        <p:nvCxnSpPr>
          <p:cNvPr id="29" name="Straight Connector 28" descr="White line">
            <a:extLst>
              <a:ext uri="{FF2B5EF4-FFF2-40B4-BE49-F238E27FC236}">
                <a16:creationId xmlns:a16="http://schemas.microsoft.com/office/drawing/2014/main" id="{E7BFD3CA-0D22-406E-81D4-26CBC6952A3B}"/>
              </a:ext>
            </a:extLst>
          </p:cNvPr>
          <p:cNvCxnSpPr>
            <a:cxnSpLocks/>
          </p:cNvCxnSpPr>
          <p:nvPr/>
        </p:nvCxnSpPr>
        <p:spPr>
          <a:xfrm>
            <a:off x="8272071" y="3773383"/>
            <a:ext cx="2108323" cy="0"/>
          </a:xfrm>
          <a:prstGeom prst="line">
            <a:avLst/>
          </a:prstGeom>
          <a:ln w="127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48902E4B-FC75-4695-90B2-F3C6A6F405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0547" y="365125"/>
            <a:ext cx="10515600" cy="132556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7289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D2EADA-BF14-1C60-C63B-EEA10D77E7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754E1A-6988-EE83-E72B-DD37BD5D56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етоды и ход проекта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7904620-0BA8-608C-A0D0-7A9941375C4A}"/>
              </a:ext>
            </a:extLst>
          </p:cNvPr>
          <p:cNvSpPr txBox="1"/>
          <p:nvPr/>
        </p:nvSpPr>
        <p:spPr>
          <a:xfrm>
            <a:off x="334963" y="1310446"/>
            <a:ext cx="11162015" cy="46535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b="1" dirty="0">
                <a:solidFill>
                  <a:schemeClr val="bg2"/>
                </a:solidFill>
              </a:rPr>
              <a:t>Метод: </a:t>
            </a:r>
          </a:p>
          <a:p>
            <a:endParaRPr lang="ru-RU" b="1" dirty="0">
              <a:solidFill>
                <a:schemeClr val="bg2"/>
              </a:solidFill>
            </a:endParaRPr>
          </a:p>
          <a:p>
            <a:r>
              <a:rPr lang="ru-RU" dirty="0">
                <a:solidFill>
                  <a:schemeClr val="bg2"/>
                </a:solidFill>
              </a:rPr>
              <a:t>Полевое наблюдение за поведением шмелей с помощью искусственно созданных «</a:t>
            </a:r>
            <a:r>
              <a:rPr lang="ru-RU" dirty="0" err="1">
                <a:solidFill>
                  <a:schemeClr val="bg2"/>
                </a:solidFill>
              </a:rPr>
              <a:t>суперстимулов</a:t>
            </a:r>
            <a:r>
              <a:rPr lang="ru-RU" dirty="0">
                <a:solidFill>
                  <a:schemeClr val="bg2"/>
                </a:solidFill>
              </a:rPr>
              <a:t>»</a:t>
            </a:r>
            <a:br>
              <a:rPr lang="ru-RU" dirty="0">
                <a:solidFill>
                  <a:schemeClr val="bg2"/>
                </a:solidFill>
              </a:rPr>
            </a:br>
            <a:endParaRPr lang="ru-RU" dirty="0">
              <a:solidFill>
                <a:schemeClr val="bg2"/>
              </a:solidFill>
            </a:endParaRPr>
          </a:p>
          <a:p>
            <a:r>
              <a:rPr lang="ru-RU" b="1" dirty="0">
                <a:solidFill>
                  <a:schemeClr val="bg2"/>
                </a:solidFill>
              </a:rPr>
              <a:t>Ход проекта:</a:t>
            </a:r>
          </a:p>
          <a:p>
            <a:endParaRPr lang="ru-RU" b="1" dirty="0">
              <a:solidFill>
                <a:schemeClr val="bg2"/>
              </a:solidFill>
            </a:endParaRPr>
          </a:p>
          <a:p>
            <a:pPr marL="342900" indent="-342900">
              <a:buAutoNum type="arabicPeriod"/>
            </a:pPr>
            <a:r>
              <a:rPr lang="ru-RU" dirty="0">
                <a:solidFill>
                  <a:schemeClr val="bg2"/>
                </a:solidFill>
              </a:rPr>
              <a:t>Сделали искусственные гигантские чаши-цветы (яркий желтый, привычный лилово-синий и узор)</a:t>
            </a:r>
          </a:p>
          <a:p>
            <a:pPr marL="342900" indent="-342900">
              <a:buAutoNum type="arabicPeriod"/>
            </a:pPr>
            <a:r>
              <a:rPr lang="ru-RU" dirty="0">
                <a:solidFill>
                  <a:schemeClr val="bg2"/>
                </a:solidFill>
              </a:rPr>
              <a:t>Добавили мед</a:t>
            </a:r>
          </a:p>
          <a:p>
            <a:pPr marL="342900" indent="-342900">
              <a:buAutoNum type="arabicPeriod"/>
            </a:pPr>
            <a:r>
              <a:rPr lang="ru-RU" dirty="0">
                <a:solidFill>
                  <a:schemeClr val="bg2"/>
                </a:solidFill>
              </a:rPr>
              <a:t>Разместили в месте с большим трафиком шмелей</a:t>
            </a:r>
          </a:p>
          <a:p>
            <a:pPr marL="342900" indent="-342900">
              <a:buAutoNum type="arabicPeriod"/>
            </a:pPr>
            <a:r>
              <a:rPr lang="ru-RU" dirty="0">
                <a:solidFill>
                  <a:schemeClr val="bg2"/>
                </a:solidFill>
              </a:rPr>
              <a:t>Шмели сначала не хотели реагировать, поэтому добавили маленькие стимулы, максимально похожие на цветы</a:t>
            </a:r>
          </a:p>
          <a:p>
            <a:pPr marL="342900" indent="-342900">
              <a:buAutoNum type="arabicPeriod"/>
            </a:pPr>
            <a:r>
              <a:rPr lang="ru-RU" dirty="0">
                <a:solidFill>
                  <a:schemeClr val="bg2"/>
                </a:solidFill>
              </a:rPr>
              <a:t>Провели фото-видео фиксацию поведения шмелей</a:t>
            </a:r>
          </a:p>
        </p:txBody>
      </p:sp>
    </p:spTree>
    <p:extLst>
      <p:ext uri="{BB962C8B-B14F-4D97-AF65-F5344CB8AC3E}">
        <p14:creationId xmlns:p14="http://schemas.microsoft.com/office/powerpoint/2010/main" val="332167834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FDA569-C79D-4D76-124E-DC60268B4E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898525"/>
          </a:xfrm>
        </p:spPr>
        <p:txBody>
          <a:bodyPr/>
          <a:lstStyle/>
          <a:p>
            <a:endParaRPr lang="ru-RU"/>
          </a:p>
        </p:txBody>
      </p:sp>
      <p:sp>
        <p:nvSpPr>
          <p:cNvPr id="6" name="Oval 5" descr="White circle">
            <a:extLst>
              <a:ext uri="{FF2B5EF4-FFF2-40B4-BE49-F238E27FC236}">
                <a16:creationId xmlns:a16="http://schemas.microsoft.com/office/drawing/2014/main" id="{18308D5A-12F5-4BB2-A4E0-37BA17CB1AB5}"/>
              </a:ext>
            </a:extLst>
          </p:cNvPr>
          <p:cNvSpPr/>
          <p:nvPr/>
        </p:nvSpPr>
        <p:spPr>
          <a:xfrm>
            <a:off x="3848746" y="1611824"/>
            <a:ext cx="4494508" cy="4494508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0" name="Content Placeholder 24" descr="Chart">
            <a:extLst>
              <a:ext uri="{FF2B5EF4-FFF2-40B4-BE49-F238E27FC236}">
                <a16:creationId xmlns:a16="http://schemas.microsoft.com/office/drawing/2014/main" id="{4AF4332F-83BC-4DC5-9516-227508BC570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04564711"/>
              </p:ext>
            </p:extLst>
          </p:nvPr>
        </p:nvGraphicFramePr>
        <p:xfrm>
          <a:off x="2520157" y="1699285"/>
          <a:ext cx="7151687" cy="4319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object 7">
            <a:extLst>
              <a:ext uri="{FF2B5EF4-FFF2-40B4-BE49-F238E27FC236}">
                <a16:creationId xmlns:a16="http://schemas.microsoft.com/office/drawing/2014/main" id="{ADD866C3-A26F-4579-B7C3-5EFD9B87C03B}"/>
              </a:ext>
            </a:extLst>
          </p:cNvPr>
          <p:cNvSpPr txBox="1"/>
          <p:nvPr/>
        </p:nvSpPr>
        <p:spPr>
          <a:xfrm>
            <a:off x="9187353" y="2469616"/>
            <a:ext cx="1501140" cy="704850"/>
          </a:xfrm>
          <a:prstGeom prst="rect">
            <a:avLst/>
          </a:prstGeom>
        </p:spPr>
        <p:txBody>
          <a:bodyPr vert="horz" wrap="square" lIns="0" tIns="43180" rIns="0" bIns="0" rtlCol="0">
            <a:spAutoFit/>
          </a:bodyPr>
          <a:lstStyle/>
          <a:p>
            <a:pPr marL="12700">
              <a:spcBef>
                <a:spcPts val="340"/>
              </a:spcBef>
            </a:pPr>
            <a:r>
              <a:rPr lang="ru-RU" sz="1400" i="1" spc="15" dirty="0">
                <a:solidFill>
                  <a:schemeClr val="bg1"/>
                </a:solidFill>
                <a:cs typeface="Segoe UI" panose="020B0502040204020203" pitchFamily="34" charset="0"/>
              </a:rPr>
              <a:t>ХХХХХХХХХХ</a:t>
            </a:r>
            <a:endParaRPr lang="en-US" sz="1400" i="1" spc="15" dirty="0">
              <a:solidFill>
                <a:schemeClr val="bg1"/>
              </a:solidFill>
              <a:cs typeface="Segoe UI" panose="020B0502040204020203" pitchFamily="34" charset="0"/>
            </a:endParaRPr>
          </a:p>
          <a:p>
            <a:pPr marL="12700" algn="r">
              <a:spcBef>
                <a:spcPts val="340"/>
              </a:spcBef>
            </a:pPr>
            <a:r>
              <a:rPr lang="en-US" sz="2500" b="1" dirty="0">
                <a:solidFill>
                  <a:schemeClr val="bg1"/>
                </a:solidFill>
                <a:latin typeface="+mj-lt"/>
              </a:rPr>
              <a:t>$XXXXX</a:t>
            </a:r>
          </a:p>
        </p:txBody>
      </p:sp>
      <p:sp>
        <p:nvSpPr>
          <p:cNvPr id="12" name="object 8">
            <a:extLst>
              <a:ext uri="{FF2B5EF4-FFF2-40B4-BE49-F238E27FC236}">
                <a16:creationId xmlns:a16="http://schemas.microsoft.com/office/drawing/2014/main" id="{9443DAA2-8BB3-4983-BE18-DE25682FF713}"/>
              </a:ext>
            </a:extLst>
          </p:cNvPr>
          <p:cNvSpPr txBox="1"/>
          <p:nvPr/>
        </p:nvSpPr>
        <p:spPr>
          <a:xfrm>
            <a:off x="1503507" y="4946920"/>
            <a:ext cx="1610330" cy="695062"/>
          </a:xfrm>
          <a:prstGeom prst="rect">
            <a:avLst/>
          </a:prstGeom>
        </p:spPr>
        <p:txBody>
          <a:bodyPr vert="horz" wrap="square" lIns="0" tIns="4318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40"/>
              </a:spcBef>
            </a:pPr>
            <a:r>
              <a:rPr lang="ru-RU" sz="1400" i="1" spc="15" dirty="0">
                <a:solidFill>
                  <a:schemeClr val="bg1"/>
                </a:solidFill>
                <a:cs typeface="Segoe UI" panose="020B0502040204020203" pitchFamily="34" charset="0"/>
              </a:rPr>
              <a:t>ХХХХХХХХХХХХХ</a:t>
            </a:r>
            <a:endParaRPr lang="en-US" sz="1400" i="1" spc="15" dirty="0">
              <a:solidFill>
                <a:schemeClr val="bg1"/>
              </a:solidFill>
              <a:cs typeface="Segoe UI" panose="020B0502040204020203" pitchFamily="34" charset="0"/>
            </a:endParaRPr>
          </a:p>
          <a:p>
            <a:pPr marL="12700">
              <a:lnSpc>
                <a:spcPct val="100000"/>
              </a:lnSpc>
              <a:spcBef>
                <a:spcPts val="425"/>
              </a:spcBef>
            </a:pPr>
            <a:r>
              <a:rPr lang="en-US" sz="2500" b="1" dirty="0">
                <a:solidFill>
                  <a:schemeClr val="bg1"/>
                </a:solidFill>
                <a:latin typeface="+mj-lt"/>
              </a:rPr>
              <a:t>$XXXXX</a:t>
            </a:r>
          </a:p>
        </p:txBody>
      </p:sp>
      <p:sp>
        <p:nvSpPr>
          <p:cNvPr id="13" name="object 9">
            <a:extLst>
              <a:ext uri="{FF2B5EF4-FFF2-40B4-BE49-F238E27FC236}">
                <a16:creationId xmlns:a16="http://schemas.microsoft.com/office/drawing/2014/main" id="{45E34A9E-134A-42FD-820E-74C9C4A6E06E}"/>
              </a:ext>
            </a:extLst>
          </p:cNvPr>
          <p:cNvSpPr txBox="1"/>
          <p:nvPr/>
        </p:nvSpPr>
        <p:spPr>
          <a:xfrm>
            <a:off x="8977095" y="4946920"/>
            <a:ext cx="1711398" cy="704850"/>
          </a:xfrm>
          <a:prstGeom prst="rect">
            <a:avLst/>
          </a:prstGeom>
        </p:spPr>
        <p:txBody>
          <a:bodyPr vert="horz" wrap="square" lIns="0" tIns="4318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340"/>
              </a:spcBef>
            </a:pPr>
            <a:r>
              <a:rPr lang="ru-RU" sz="1400" i="1" spc="15" dirty="0">
                <a:solidFill>
                  <a:schemeClr val="bg1"/>
                </a:solidFill>
                <a:cs typeface="Segoe UI" panose="020B0502040204020203" pitchFamily="34" charset="0"/>
              </a:rPr>
              <a:t>ХХХХХХХХХ</a:t>
            </a:r>
            <a:endParaRPr lang="en-US" sz="1400" i="1" spc="15" dirty="0">
              <a:solidFill>
                <a:schemeClr val="bg1"/>
              </a:solidFill>
              <a:cs typeface="Segoe UI" panose="020B0502040204020203" pitchFamily="34" charset="0"/>
            </a:endParaRPr>
          </a:p>
          <a:p>
            <a:pPr marL="12700" algn="r">
              <a:lnSpc>
                <a:spcPct val="100000"/>
              </a:lnSpc>
              <a:spcBef>
                <a:spcPts val="340"/>
              </a:spcBef>
            </a:pPr>
            <a:r>
              <a:rPr lang="en-US" sz="2500" b="1" dirty="0">
                <a:solidFill>
                  <a:schemeClr val="bg1"/>
                </a:solidFill>
                <a:latin typeface="+mj-lt"/>
              </a:rPr>
              <a:t>$XXXXX</a:t>
            </a:r>
          </a:p>
        </p:txBody>
      </p:sp>
      <p:sp>
        <p:nvSpPr>
          <p:cNvPr id="14" name="object 7">
            <a:extLst>
              <a:ext uri="{FF2B5EF4-FFF2-40B4-BE49-F238E27FC236}">
                <a16:creationId xmlns:a16="http://schemas.microsoft.com/office/drawing/2014/main" id="{FFC4D6E5-F39D-4148-8E29-64D0DE6071D2}"/>
              </a:ext>
            </a:extLst>
          </p:cNvPr>
          <p:cNvSpPr txBox="1"/>
          <p:nvPr/>
        </p:nvSpPr>
        <p:spPr>
          <a:xfrm>
            <a:off x="1503507" y="2469616"/>
            <a:ext cx="1793571" cy="682238"/>
          </a:xfrm>
          <a:prstGeom prst="rect">
            <a:avLst/>
          </a:prstGeom>
        </p:spPr>
        <p:txBody>
          <a:bodyPr vert="horz" wrap="square" lIns="0" tIns="4318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40"/>
              </a:spcBef>
            </a:pPr>
            <a:r>
              <a:rPr lang="ru-RU" sz="1400" i="1" spc="15" dirty="0">
                <a:solidFill>
                  <a:schemeClr val="bg1"/>
                </a:solidFill>
                <a:cs typeface="Segoe UI" panose="020B0502040204020203" pitchFamily="34" charset="0"/>
              </a:rPr>
              <a:t>ХХХХХХХХХХХХХХХ</a:t>
            </a:r>
            <a:endParaRPr lang="en-US" sz="1400" i="1" spc="20" dirty="0">
              <a:solidFill>
                <a:schemeClr val="bg1"/>
              </a:solidFill>
              <a:cs typeface="Segoe UI" panose="020B0502040204020203" pitchFamily="34" charset="0"/>
            </a:endParaRPr>
          </a:p>
          <a:p>
            <a:pPr marL="12700">
              <a:lnSpc>
                <a:spcPct val="100000"/>
              </a:lnSpc>
              <a:spcBef>
                <a:spcPts val="340"/>
              </a:spcBef>
            </a:pPr>
            <a:r>
              <a:rPr lang="en-US" sz="2500" b="1" dirty="0">
                <a:solidFill>
                  <a:schemeClr val="bg1"/>
                </a:solidFill>
                <a:latin typeface="+mj-lt"/>
                <a:cs typeface="Avenir Black"/>
              </a:rPr>
              <a:t>$XXXXX</a:t>
            </a:r>
            <a:endParaRPr lang="en-US" sz="2500" dirty="0">
              <a:solidFill>
                <a:schemeClr val="bg1"/>
              </a:solidFill>
              <a:latin typeface="+mj-lt"/>
              <a:cs typeface="Avenir Black"/>
            </a:endParaRPr>
          </a:p>
        </p:txBody>
      </p:sp>
      <p:cxnSp>
        <p:nvCxnSpPr>
          <p:cNvPr id="15" name="Straight Connector 14" descr="White line">
            <a:extLst>
              <a:ext uri="{FF2B5EF4-FFF2-40B4-BE49-F238E27FC236}">
                <a16:creationId xmlns:a16="http://schemas.microsoft.com/office/drawing/2014/main" id="{8F10C47F-8DB6-4F10-999F-9F0945EF1066}"/>
              </a:ext>
            </a:extLst>
          </p:cNvPr>
          <p:cNvCxnSpPr/>
          <p:nvPr/>
        </p:nvCxnSpPr>
        <p:spPr>
          <a:xfrm>
            <a:off x="3255441" y="2944678"/>
            <a:ext cx="936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 descr="White line">
            <a:extLst>
              <a:ext uri="{FF2B5EF4-FFF2-40B4-BE49-F238E27FC236}">
                <a16:creationId xmlns:a16="http://schemas.microsoft.com/office/drawing/2014/main" id="{ABF823CE-8F30-44E8-A4F3-B87E440DA298}"/>
              </a:ext>
            </a:extLst>
          </p:cNvPr>
          <p:cNvCxnSpPr>
            <a:cxnSpLocks/>
          </p:cNvCxnSpPr>
          <p:nvPr/>
        </p:nvCxnSpPr>
        <p:spPr>
          <a:xfrm>
            <a:off x="3255441" y="5406326"/>
            <a:ext cx="1404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 descr="White line">
            <a:extLst>
              <a:ext uri="{FF2B5EF4-FFF2-40B4-BE49-F238E27FC236}">
                <a16:creationId xmlns:a16="http://schemas.microsoft.com/office/drawing/2014/main" id="{1EC67F4A-791B-465C-A6D0-425D45D4BDC4}"/>
              </a:ext>
            </a:extLst>
          </p:cNvPr>
          <p:cNvCxnSpPr>
            <a:cxnSpLocks/>
          </p:cNvCxnSpPr>
          <p:nvPr/>
        </p:nvCxnSpPr>
        <p:spPr>
          <a:xfrm>
            <a:off x="7961864" y="2944678"/>
            <a:ext cx="97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 descr="White line">
            <a:extLst>
              <a:ext uri="{FF2B5EF4-FFF2-40B4-BE49-F238E27FC236}">
                <a16:creationId xmlns:a16="http://schemas.microsoft.com/office/drawing/2014/main" id="{21CEE569-9C3A-4C5E-A777-4A90772E84F2}"/>
              </a:ext>
            </a:extLst>
          </p:cNvPr>
          <p:cNvCxnSpPr>
            <a:cxnSpLocks/>
          </p:cNvCxnSpPr>
          <p:nvPr/>
        </p:nvCxnSpPr>
        <p:spPr>
          <a:xfrm>
            <a:off x="7680960" y="5406326"/>
            <a:ext cx="12529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629302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C750891-B331-46E3-89A1-0996C36799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898525"/>
          </a:xfrm>
        </p:spPr>
        <p:txBody>
          <a:bodyPr/>
          <a:lstStyle/>
          <a:p>
            <a:endParaRPr lang="en-US" dirty="0"/>
          </a:p>
        </p:txBody>
      </p:sp>
      <p:graphicFrame>
        <p:nvGraphicFramePr>
          <p:cNvPr id="9" name="Content Placeholder 7">
            <a:extLst>
              <a:ext uri="{FF2B5EF4-FFF2-40B4-BE49-F238E27FC236}">
                <a16:creationId xmlns:a16="http://schemas.microsoft.com/office/drawing/2014/main" id="{7CEA469E-1569-405A-8AC4-983D41DB66F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56756946"/>
              </p:ext>
            </p:extLst>
          </p:nvPr>
        </p:nvGraphicFramePr>
        <p:xfrm>
          <a:off x="552449" y="1702055"/>
          <a:ext cx="11052170" cy="14833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531166">
                  <a:extLst>
                    <a:ext uri="{9D8B030D-6E8A-4147-A177-3AD203B41FA5}">
                      <a16:colId xmlns:a16="http://schemas.microsoft.com/office/drawing/2014/main" val="2120316286"/>
                    </a:ext>
                  </a:extLst>
                </a:gridCol>
                <a:gridCol w="2173668">
                  <a:extLst>
                    <a:ext uri="{9D8B030D-6E8A-4147-A177-3AD203B41FA5}">
                      <a16:colId xmlns:a16="http://schemas.microsoft.com/office/drawing/2014/main" val="3254578854"/>
                    </a:ext>
                  </a:extLst>
                </a:gridCol>
                <a:gridCol w="2173668">
                  <a:extLst>
                    <a:ext uri="{9D8B030D-6E8A-4147-A177-3AD203B41FA5}">
                      <a16:colId xmlns:a16="http://schemas.microsoft.com/office/drawing/2014/main" val="2480324120"/>
                    </a:ext>
                  </a:extLst>
                </a:gridCol>
                <a:gridCol w="2173668">
                  <a:extLst>
                    <a:ext uri="{9D8B030D-6E8A-4147-A177-3AD203B41FA5}">
                      <a16:colId xmlns:a16="http://schemas.microsoft.com/office/drawing/2014/main" val="30003764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227965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b="1" dirty="0">
                          <a:solidFill>
                            <a:schemeClr val="bg2">
                              <a:lumMod val="20000"/>
                              <a:lumOff val="80000"/>
                            </a:schemeClr>
                          </a:solidFill>
                        </a:rPr>
                        <a:t>3 YEAR SALES</a:t>
                      </a:r>
                      <a:r>
                        <a:rPr sz="1400" b="1" spc="-55" dirty="0">
                          <a:solidFill>
                            <a:schemeClr val="bg2">
                              <a:lumMod val="20000"/>
                              <a:lumOff val="80000"/>
                            </a:schemeClr>
                          </a:solidFill>
                        </a:rPr>
                        <a:t> </a:t>
                      </a:r>
                      <a:r>
                        <a:rPr sz="1400" b="1" spc="-10" dirty="0">
                          <a:solidFill>
                            <a:schemeClr val="bg2">
                              <a:lumMod val="20000"/>
                              <a:lumOff val="80000"/>
                            </a:schemeClr>
                          </a:solidFill>
                        </a:rPr>
                        <a:t>SUMMARY</a:t>
                      </a:r>
                      <a:endParaRPr sz="1400" dirty="0">
                        <a:solidFill>
                          <a:schemeClr val="bg2">
                            <a:lumMod val="20000"/>
                            <a:lumOff val="8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50520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b="1" dirty="0">
                          <a:solidFill>
                            <a:schemeClr val="bg2">
                              <a:lumMod val="20000"/>
                              <a:lumOff val="80000"/>
                            </a:schemeClr>
                          </a:solidFill>
                        </a:rPr>
                        <a:t>YR1</a:t>
                      </a:r>
                      <a:endParaRPr sz="1400" dirty="0">
                        <a:solidFill>
                          <a:schemeClr val="bg2">
                            <a:lumMod val="20000"/>
                            <a:lumOff val="8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3220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b="1" dirty="0">
                          <a:solidFill>
                            <a:schemeClr val="bg2">
                              <a:lumMod val="20000"/>
                              <a:lumOff val="80000"/>
                            </a:schemeClr>
                          </a:solidFill>
                        </a:rPr>
                        <a:t>YR2</a:t>
                      </a:r>
                      <a:endParaRPr sz="1400" dirty="0">
                        <a:solidFill>
                          <a:schemeClr val="bg2">
                            <a:lumMod val="20000"/>
                            <a:lumOff val="8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7665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b="1" dirty="0">
                          <a:solidFill>
                            <a:schemeClr val="bg2">
                              <a:lumMod val="20000"/>
                              <a:lumOff val="80000"/>
                            </a:schemeClr>
                          </a:solidFill>
                        </a:rPr>
                        <a:t>YR3</a:t>
                      </a:r>
                      <a:endParaRPr sz="1400" dirty="0">
                        <a:solidFill>
                          <a:schemeClr val="bg2">
                            <a:lumMod val="20000"/>
                            <a:lumOff val="8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3821042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27965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sz="1200" b="0" spc="-30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Total</a:t>
                      </a:r>
                      <a:r>
                        <a:rPr sz="1200" b="0" spc="-10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 </a:t>
                      </a:r>
                      <a:r>
                        <a:rPr sz="1200" b="0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Sales</a:t>
                      </a:r>
                      <a:endParaRPr sz="1200" b="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50520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sz="1200" b="0" spc="-5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$</a:t>
                      </a:r>
                      <a:r>
                        <a:rPr lang="en-US" sz="1200" b="0" spc="-5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7</a:t>
                      </a:r>
                      <a:r>
                        <a:rPr sz="1200" b="0" spc="-5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0</a:t>
                      </a:r>
                      <a:r>
                        <a:rPr lang="en-US" sz="1200" b="0" spc="-5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2</a:t>
                      </a:r>
                      <a:r>
                        <a:rPr sz="1200" b="0" spc="-5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,000</a:t>
                      </a:r>
                      <a:endParaRPr sz="1200" b="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3220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sz="1200" b="0" spc="-5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$400,000</a:t>
                      </a:r>
                      <a:endParaRPr sz="1200" b="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7665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sz="1200" b="0" spc="-5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$500,000</a:t>
                      </a:r>
                      <a:endParaRPr sz="1200" b="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8112730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27965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lang="en-US" sz="1200" b="0" spc="-5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Total Cogs</a:t>
                      </a:r>
                      <a:endParaRPr sz="1200" b="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5052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lang="en-US" sz="1200" b="0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$212,000</a:t>
                      </a:r>
                      <a:endParaRPr sz="1200" b="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322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lang="en-US" sz="1200" b="0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$222,600</a:t>
                      </a:r>
                      <a:endParaRPr sz="1200" b="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7665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lang="en-US" sz="1200" b="0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$233,730</a:t>
                      </a:r>
                      <a:endParaRPr sz="1200" b="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0439280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27965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200" b="0" spc="-5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NET</a:t>
                      </a:r>
                      <a:r>
                        <a:rPr sz="1200" b="0" spc="-10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 </a:t>
                      </a:r>
                      <a:r>
                        <a:rPr sz="1200" b="0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PROFIT</a:t>
                      </a:r>
                      <a:endParaRPr sz="1200" b="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5052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200" b="0" spc="-5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$</a:t>
                      </a:r>
                      <a:r>
                        <a:rPr lang="en-US" sz="1200" b="0" spc="-5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490</a:t>
                      </a:r>
                      <a:r>
                        <a:rPr sz="1200" b="0" spc="-5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,000</a:t>
                      </a:r>
                      <a:endParaRPr sz="1200" b="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322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200" b="0" spc="-5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$</a:t>
                      </a:r>
                      <a:r>
                        <a:rPr lang="en-US" sz="1200" b="0" spc="-5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549,600</a:t>
                      </a:r>
                      <a:endParaRPr sz="1200" b="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7665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200" b="0" spc="-5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$</a:t>
                      </a:r>
                      <a:r>
                        <a:rPr lang="en-US" sz="1200" b="0" spc="-5" dirty="0">
                          <a:solidFill>
                            <a:schemeClr val="bg1">
                              <a:alpha val="70000"/>
                            </a:schemeClr>
                          </a:solidFill>
                        </a:rPr>
                        <a:t>615,690</a:t>
                      </a:r>
                      <a:endParaRPr sz="1200" b="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808066630"/>
                  </a:ext>
                </a:extLst>
              </a:tr>
            </a:tbl>
          </a:graphicData>
        </a:graphic>
      </p:graphicFrame>
      <p:graphicFrame>
        <p:nvGraphicFramePr>
          <p:cNvPr id="10" name="Content Placeholder 10" descr="Chart">
            <a:extLst>
              <a:ext uri="{FF2B5EF4-FFF2-40B4-BE49-F238E27FC236}">
                <a16:creationId xmlns:a16="http://schemas.microsoft.com/office/drawing/2014/main" id="{966664D9-B4E6-4F18-9AED-A2C875BEE6F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34806858"/>
              </p:ext>
            </p:extLst>
          </p:nvPr>
        </p:nvGraphicFramePr>
        <p:xfrm>
          <a:off x="596106" y="3269069"/>
          <a:ext cx="10980738" cy="30396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617733534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E4F52F5-65E2-55E2-9ED8-2F64275A5C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898525"/>
          </a:xfrm>
        </p:spPr>
        <p:txBody>
          <a:bodyPr/>
          <a:lstStyle/>
          <a:p>
            <a:endParaRPr lang="ru-RU" dirty="0"/>
          </a:p>
        </p:txBody>
      </p:sp>
      <p:graphicFrame>
        <p:nvGraphicFramePr>
          <p:cNvPr id="4" name="Content Placeholder 21" descr="Table">
            <a:extLst>
              <a:ext uri="{FF2B5EF4-FFF2-40B4-BE49-F238E27FC236}">
                <a16:creationId xmlns:a16="http://schemas.microsoft.com/office/drawing/2014/main" id="{8C240FE2-B6B6-4F39-91DF-8F6E52898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35576267"/>
              </p:ext>
            </p:extLst>
          </p:nvPr>
        </p:nvGraphicFramePr>
        <p:xfrm>
          <a:off x="623888" y="1825625"/>
          <a:ext cx="5364455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8609">
                  <a:extLst>
                    <a:ext uri="{9D8B030D-6E8A-4147-A177-3AD203B41FA5}">
                      <a16:colId xmlns:a16="http://schemas.microsoft.com/office/drawing/2014/main" val="2726345775"/>
                    </a:ext>
                  </a:extLst>
                </a:gridCol>
                <a:gridCol w="1065282">
                  <a:extLst>
                    <a:ext uri="{9D8B030D-6E8A-4147-A177-3AD203B41FA5}">
                      <a16:colId xmlns:a16="http://schemas.microsoft.com/office/drawing/2014/main" val="3543582451"/>
                    </a:ext>
                  </a:extLst>
                </a:gridCol>
                <a:gridCol w="1065282">
                  <a:extLst>
                    <a:ext uri="{9D8B030D-6E8A-4147-A177-3AD203B41FA5}">
                      <a16:colId xmlns:a16="http://schemas.microsoft.com/office/drawing/2014/main" val="4026570338"/>
                    </a:ext>
                  </a:extLst>
                </a:gridCol>
                <a:gridCol w="1065282">
                  <a:extLst>
                    <a:ext uri="{9D8B030D-6E8A-4147-A177-3AD203B41FA5}">
                      <a16:colId xmlns:a16="http://schemas.microsoft.com/office/drawing/2014/main" val="23169786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400" b="1" kern="1200" dirty="0">
                          <a:solidFill>
                            <a:schemeClr val="bg2">
                              <a:lumMod val="20000"/>
                              <a:lumOff val="8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FINANCIAL RATIOS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68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chemeClr val="bg2">
                              <a:lumMod val="20000"/>
                              <a:lumOff val="8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YR1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68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400" b="1" kern="1200" dirty="0">
                          <a:solidFill>
                            <a:schemeClr val="bg2">
                              <a:lumMod val="20000"/>
                              <a:lumOff val="8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YR2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68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400" b="1" kern="1200" dirty="0">
                          <a:solidFill>
                            <a:schemeClr val="bg2">
                              <a:lumMod val="20000"/>
                              <a:lumOff val="8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YR3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39603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26800"/>
                      <a:r>
                        <a:rPr lang="en-US" sz="1050" b="0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Profit Margin</a:t>
                      </a:r>
                    </a:p>
                  </a:txBody>
                  <a:tcPr marL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 algn="l"/>
                      <a:r>
                        <a:rPr lang="en-US" sz="1050" b="0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12.07%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 algn="l"/>
                      <a:r>
                        <a:rPr lang="en-US" sz="1050" b="0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14.95%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 algn="l"/>
                      <a:r>
                        <a:rPr lang="en-US" sz="1050" b="0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17.66%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45436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268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Assets</a:t>
                      </a:r>
                      <a:r>
                        <a:rPr lang="en-US" sz="1050" b="0" baseline="0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 to Liabilities</a:t>
                      </a:r>
                      <a:endParaRPr lang="en-US" sz="1050" b="0" dirty="0">
                        <a:solidFill>
                          <a:schemeClr val="tx1">
                            <a:alpha val="70000"/>
                          </a:schemeClr>
                        </a:solidFill>
                        <a:latin typeface="Segoe UI" panose="020B0502040204020203" pitchFamily="34" charset="0"/>
                        <a:ea typeface="Lato" panose="020F050202020403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2268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2.83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226800" algn="l"/>
                      <a:r>
                        <a:rPr lang="en-US" sz="1050" b="0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4.24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226800" algn="l"/>
                      <a:r>
                        <a:rPr lang="en-US" sz="1050" b="0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7.44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14393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268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Equity to Liabilities</a:t>
                      </a:r>
                    </a:p>
                  </a:txBody>
                  <a:tcPr marL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1.83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 algn="l"/>
                      <a:r>
                        <a:rPr lang="en-US" sz="1050" b="0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3.24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 algn="l"/>
                      <a:r>
                        <a:rPr lang="en-US" sz="1050" b="0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6.44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92495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268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Assets to Equity</a:t>
                      </a:r>
                    </a:p>
                  </a:txBody>
                  <a:tcPr marL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2268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1.55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226800" algn="l"/>
                      <a:r>
                        <a:rPr lang="en-US" sz="1050" b="0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1.31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226800" algn="l"/>
                      <a:r>
                        <a:rPr lang="en-US" sz="1050" b="0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Lato" panose="020F0502020204030203" pitchFamily="34" charset="0"/>
                          <a:cs typeface="Segoe UI" panose="020B0502040204020203" pitchFamily="34" charset="0"/>
                        </a:rPr>
                        <a:t>1.16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2719946"/>
                  </a:ext>
                </a:extLst>
              </a:tr>
            </a:tbl>
          </a:graphicData>
        </a:graphic>
      </p:graphicFrame>
      <p:graphicFrame>
        <p:nvGraphicFramePr>
          <p:cNvPr id="6" name="Content Placeholder 20" descr="Table">
            <a:extLst>
              <a:ext uri="{FF2B5EF4-FFF2-40B4-BE49-F238E27FC236}">
                <a16:creationId xmlns:a16="http://schemas.microsoft.com/office/drawing/2014/main" id="{5E0CC083-1B7E-481A-87A3-DA63BF3457B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3247241"/>
              </p:ext>
            </p:extLst>
          </p:nvPr>
        </p:nvGraphicFramePr>
        <p:xfrm>
          <a:off x="868830" y="3792538"/>
          <a:ext cx="10512000" cy="2384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ontent Placeholder 21" descr="Table">
            <a:extLst>
              <a:ext uri="{FF2B5EF4-FFF2-40B4-BE49-F238E27FC236}">
                <a16:creationId xmlns:a16="http://schemas.microsoft.com/office/drawing/2014/main" id="{C0EAC488-5543-44B6-B242-BD10A9728D9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2942411"/>
              </p:ext>
            </p:extLst>
          </p:nvPr>
        </p:nvGraphicFramePr>
        <p:xfrm>
          <a:off x="6243997" y="1825625"/>
          <a:ext cx="5360627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548">
                  <a:extLst>
                    <a:ext uri="{9D8B030D-6E8A-4147-A177-3AD203B41FA5}">
                      <a16:colId xmlns:a16="http://schemas.microsoft.com/office/drawing/2014/main" val="1343926013"/>
                    </a:ext>
                  </a:extLst>
                </a:gridCol>
                <a:gridCol w="1066693">
                  <a:extLst>
                    <a:ext uri="{9D8B030D-6E8A-4147-A177-3AD203B41FA5}">
                      <a16:colId xmlns:a16="http://schemas.microsoft.com/office/drawing/2014/main" val="2862800608"/>
                    </a:ext>
                  </a:extLst>
                </a:gridCol>
                <a:gridCol w="1066693">
                  <a:extLst>
                    <a:ext uri="{9D8B030D-6E8A-4147-A177-3AD203B41FA5}">
                      <a16:colId xmlns:a16="http://schemas.microsoft.com/office/drawing/2014/main" val="1641632032"/>
                    </a:ext>
                  </a:extLst>
                </a:gridCol>
                <a:gridCol w="1066693">
                  <a:extLst>
                    <a:ext uri="{9D8B030D-6E8A-4147-A177-3AD203B41FA5}">
                      <a16:colId xmlns:a16="http://schemas.microsoft.com/office/drawing/2014/main" val="7844868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400" b="1" kern="1200" dirty="0">
                          <a:solidFill>
                            <a:schemeClr val="bg2">
                              <a:lumMod val="20000"/>
                              <a:lumOff val="8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LIQUIDITY RATIOS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796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chemeClr val="bg2">
                              <a:lumMod val="20000"/>
                              <a:lumOff val="8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YR1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400" b="1" kern="1200" dirty="0">
                          <a:solidFill>
                            <a:schemeClr val="bg2">
                              <a:lumMod val="20000"/>
                              <a:lumOff val="8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YR2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400" b="1" kern="1200" dirty="0">
                          <a:solidFill>
                            <a:schemeClr val="bg2">
                              <a:lumMod val="20000"/>
                              <a:lumOff val="8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YR3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3960374"/>
                  </a:ext>
                </a:extLst>
              </a:tr>
              <a:tr h="741680">
                <a:tc>
                  <a:txBody>
                    <a:bodyPr/>
                    <a:lstStyle/>
                    <a:p>
                      <a:pPr marL="226800" algn="l" defTabSz="914400" rtl="0" eaLnBrk="1" latinLnBrk="0" hangingPunct="1"/>
                      <a:r>
                        <a:rPr lang="en-US" sz="1050" b="0" kern="1200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</a:rPr>
                        <a:t>ACID Test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 algn="l" defTabSz="914400" rtl="0" eaLnBrk="1" latinLnBrk="0" hangingPunct="1"/>
                      <a:r>
                        <a:rPr lang="en-US" sz="1050" b="0" kern="1200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</a:rPr>
                        <a:t>2.34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 algn="l" defTabSz="914400" rtl="0" eaLnBrk="1" latinLnBrk="0" hangingPunct="1"/>
                      <a:r>
                        <a:rPr lang="en-US" sz="1050" b="0" kern="1200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</a:rPr>
                        <a:t>3.66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 algn="l" defTabSz="914400" rtl="0" eaLnBrk="1" latinLnBrk="0" hangingPunct="1"/>
                      <a:r>
                        <a:rPr lang="en-US" sz="1050" b="0" kern="1200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</a:rPr>
                        <a:t>6.67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4543603"/>
                  </a:ext>
                </a:extLst>
              </a:tr>
              <a:tr h="741680">
                <a:tc>
                  <a:txBody>
                    <a:bodyPr/>
                    <a:lstStyle/>
                    <a:p>
                      <a:pPr marL="226800" algn="l" defTabSz="914400" rtl="0" eaLnBrk="1" latinLnBrk="0" hangingPunct="1"/>
                      <a:r>
                        <a:rPr lang="en-US" sz="1050" b="0" kern="1200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Cash to Assets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226800" algn="l" defTabSz="914400" rtl="0" eaLnBrk="1" latinLnBrk="0" hangingPunct="1"/>
                      <a:r>
                        <a:rPr lang="en-US" sz="1050" b="0" kern="1200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0.83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226800" algn="l" defTabSz="914400" rtl="0" eaLnBrk="1" latinLnBrk="0" hangingPunct="1"/>
                      <a:r>
                        <a:rPr lang="en-US" sz="1050" b="0" kern="1200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0.86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226800" algn="l" defTabSz="914400" rtl="0" eaLnBrk="1" latinLnBrk="0" hangingPunct="1"/>
                      <a:r>
                        <a:rPr lang="en-US" sz="1050" b="0" kern="1200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0.90</a:t>
                      </a:r>
                    </a:p>
                  </a:txBody>
                  <a:tcPr marL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92495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605671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F2684B-F87F-5105-3D65-0A0801772D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898525"/>
          </a:xfrm>
        </p:spPr>
        <p:txBody>
          <a:bodyPr/>
          <a:lstStyle/>
          <a:p>
            <a:endParaRPr lang="ru-RU"/>
          </a:p>
        </p:txBody>
      </p:sp>
      <p:graphicFrame>
        <p:nvGraphicFramePr>
          <p:cNvPr id="17" name="Content Placeholder 12" descr="Table">
            <a:extLst>
              <a:ext uri="{FF2B5EF4-FFF2-40B4-BE49-F238E27FC236}">
                <a16:creationId xmlns:a16="http://schemas.microsoft.com/office/drawing/2014/main" id="{C3199285-E9DC-45E6-92DA-E2D6DF0176B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3608153"/>
              </p:ext>
            </p:extLst>
          </p:nvPr>
        </p:nvGraphicFramePr>
        <p:xfrm>
          <a:off x="552450" y="2697163"/>
          <a:ext cx="11052177" cy="2043802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2210435">
                  <a:extLst>
                    <a:ext uri="{9D8B030D-6E8A-4147-A177-3AD203B41FA5}">
                      <a16:colId xmlns:a16="http://schemas.microsoft.com/office/drawing/2014/main" val="3572385518"/>
                    </a:ext>
                  </a:extLst>
                </a:gridCol>
                <a:gridCol w="2210435">
                  <a:extLst>
                    <a:ext uri="{9D8B030D-6E8A-4147-A177-3AD203B41FA5}">
                      <a16:colId xmlns:a16="http://schemas.microsoft.com/office/drawing/2014/main" val="1440817424"/>
                    </a:ext>
                  </a:extLst>
                </a:gridCol>
                <a:gridCol w="2210437">
                  <a:extLst>
                    <a:ext uri="{9D8B030D-6E8A-4147-A177-3AD203B41FA5}">
                      <a16:colId xmlns:a16="http://schemas.microsoft.com/office/drawing/2014/main" val="1835666774"/>
                    </a:ext>
                  </a:extLst>
                </a:gridCol>
                <a:gridCol w="2210435">
                  <a:extLst>
                    <a:ext uri="{9D8B030D-6E8A-4147-A177-3AD203B41FA5}">
                      <a16:colId xmlns:a16="http://schemas.microsoft.com/office/drawing/2014/main" val="3312468757"/>
                    </a:ext>
                  </a:extLst>
                </a:gridCol>
                <a:gridCol w="2210435">
                  <a:extLst>
                    <a:ext uri="{9D8B030D-6E8A-4147-A177-3AD203B41FA5}">
                      <a16:colId xmlns:a16="http://schemas.microsoft.com/office/drawing/2014/main" val="388103177"/>
                    </a:ext>
                  </a:extLst>
                </a:gridCol>
              </a:tblGrid>
              <a:tr h="720341">
                <a:tc>
                  <a:txBody>
                    <a:bodyPr/>
                    <a:lstStyle/>
                    <a:p>
                      <a:pPr algn="ctr"/>
                      <a:r>
                        <a:rPr lang="en-US" sz="3000" b="1" dirty="0">
                          <a:solidFill>
                            <a:schemeClr val="bg1"/>
                          </a:solidFill>
                        </a:rPr>
                        <a:t>20,807</a:t>
                      </a:r>
                      <a:endParaRPr lang="en-US" sz="30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000" b="1" dirty="0">
                          <a:solidFill>
                            <a:schemeClr val="bg1"/>
                          </a:solidFill>
                        </a:rPr>
                        <a:t>$183B</a:t>
                      </a:r>
                      <a:endParaRPr lang="en-US" sz="30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000" b="1" dirty="0">
                          <a:solidFill>
                            <a:schemeClr val="bg1"/>
                          </a:solidFill>
                        </a:rPr>
                        <a:t>12%</a:t>
                      </a:r>
                      <a:endParaRPr lang="en-US" sz="30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000" b="1" dirty="0">
                          <a:solidFill>
                            <a:schemeClr val="bg1"/>
                          </a:solidFill>
                        </a:rPr>
                        <a:t>$50,000</a:t>
                      </a:r>
                      <a:endParaRPr lang="en-US" sz="30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000" b="1" dirty="0">
                          <a:solidFill>
                            <a:schemeClr val="bg1"/>
                          </a:solidFill>
                        </a:rPr>
                        <a:t>5%</a:t>
                      </a:r>
                      <a:endParaRPr lang="en-US" sz="30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8120738"/>
                  </a:ext>
                </a:extLst>
              </a:tr>
              <a:tr h="13234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800" b="0" u="none" strike="noStrike" kern="1200" cap="none" spc="-25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Lorem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800" b="0" u="none" strike="noStrike" kern="1200" cap="none" spc="-25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ipsum dolor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800" b="0" u="none" strike="noStrike" kern="1200" cap="none" spc="-25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sit amet</a:t>
                      </a:r>
                      <a:endParaRPr kumimoji="0" lang="en-US" sz="1800" b="0" i="0" u="none" strike="noStrike" kern="1200" cap="none" spc="-25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800" b="0" u="none" strike="noStrike" kern="1200" cap="none" spc="-25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Lorem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800" b="0" u="none" strike="noStrike" kern="1200" cap="none" spc="-25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ipsum dolor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800" b="0" u="none" strike="noStrike" kern="1200" cap="none" spc="-25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sit amet</a:t>
                      </a:r>
                      <a:endParaRPr kumimoji="0" lang="en-US" sz="1800" b="0" i="0" u="none" strike="noStrike" kern="1200" cap="none" spc="-25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800" kern="1200" spc="-25" dirty="0">
                          <a:solidFill>
                            <a:schemeClr val="tx1"/>
                          </a:solidFill>
                        </a:rPr>
                        <a:t>Lorem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800" kern="1200" spc="-25" dirty="0">
                          <a:solidFill>
                            <a:schemeClr val="tx1"/>
                          </a:solidFill>
                        </a:rPr>
                        <a:t>ipsum dolor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800" kern="1200" spc="-25" dirty="0">
                          <a:solidFill>
                            <a:schemeClr val="tx1"/>
                          </a:solidFill>
                        </a:rPr>
                        <a:t>sit amet</a:t>
                      </a:r>
                      <a:endParaRPr lang="en-US" sz="1800" i="0" kern="1200" spc="-25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800" kern="1200" spc="-25" dirty="0">
                          <a:solidFill>
                            <a:schemeClr val="tx1"/>
                          </a:solidFill>
                        </a:rPr>
                        <a:t>Lorem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800" kern="1200" spc="-25" dirty="0">
                          <a:solidFill>
                            <a:schemeClr val="tx1"/>
                          </a:solidFill>
                        </a:rPr>
                        <a:t>ipsum dolor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800" kern="1200" spc="-25" dirty="0">
                          <a:solidFill>
                            <a:schemeClr val="tx1"/>
                          </a:solidFill>
                        </a:rPr>
                        <a:t>sit amet</a:t>
                      </a:r>
                      <a:endParaRPr lang="en-US" sz="1800" i="0" kern="1200" spc="-25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800" kern="1200" spc="-25" dirty="0">
                          <a:solidFill>
                            <a:schemeClr val="tx1"/>
                          </a:solidFill>
                        </a:rPr>
                        <a:t>Lorem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800" kern="1200" spc="-25" dirty="0">
                          <a:solidFill>
                            <a:schemeClr val="tx1"/>
                          </a:solidFill>
                        </a:rPr>
                        <a:t>ipsum dolor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800" kern="1200" spc="-25" dirty="0">
                          <a:solidFill>
                            <a:schemeClr val="tx1"/>
                          </a:solidFill>
                        </a:rPr>
                        <a:t>sit amet</a:t>
                      </a:r>
                      <a:endParaRPr lang="en-US" sz="1800" i="0" kern="1200" spc="-25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50017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6536780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AAE451C-9D27-E896-BF83-F4FF332AAF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898525"/>
          </a:xfrm>
        </p:spPr>
        <p:txBody>
          <a:bodyPr/>
          <a:lstStyle/>
          <a:p>
            <a:endParaRPr lang="ru-RU"/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59F17430-EB02-4E9E-9F5E-C086C9EB9A6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18548050"/>
              </p:ext>
            </p:extLst>
          </p:nvPr>
        </p:nvGraphicFramePr>
        <p:xfrm>
          <a:off x="560389" y="2836720"/>
          <a:ext cx="11052172" cy="29817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31165">
                  <a:extLst>
                    <a:ext uri="{9D8B030D-6E8A-4147-A177-3AD203B41FA5}">
                      <a16:colId xmlns:a16="http://schemas.microsoft.com/office/drawing/2014/main" val="2120316286"/>
                    </a:ext>
                  </a:extLst>
                </a:gridCol>
                <a:gridCol w="2173669">
                  <a:extLst>
                    <a:ext uri="{9D8B030D-6E8A-4147-A177-3AD203B41FA5}">
                      <a16:colId xmlns:a16="http://schemas.microsoft.com/office/drawing/2014/main" val="3254578854"/>
                    </a:ext>
                  </a:extLst>
                </a:gridCol>
                <a:gridCol w="2173669">
                  <a:extLst>
                    <a:ext uri="{9D8B030D-6E8A-4147-A177-3AD203B41FA5}">
                      <a16:colId xmlns:a16="http://schemas.microsoft.com/office/drawing/2014/main" val="2480324120"/>
                    </a:ext>
                  </a:extLst>
                </a:gridCol>
                <a:gridCol w="2173669">
                  <a:extLst>
                    <a:ext uri="{9D8B030D-6E8A-4147-A177-3AD203B41FA5}">
                      <a16:colId xmlns:a16="http://schemas.microsoft.com/office/drawing/2014/main" val="3000376450"/>
                    </a:ext>
                  </a:extLst>
                </a:gridCol>
              </a:tblGrid>
              <a:tr h="596347">
                <a:tc>
                  <a:txBody>
                    <a:bodyPr/>
                    <a:lstStyle/>
                    <a:p>
                      <a:pPr marL="226800"/>
                      <a:r>
                        <a:rPr lang="en-US" sz="1400" b="1" dirty="0">
                          <a:solidFill>
                            <a:schemeClr val="tx1">
                              <a:alpha val="70000"/>
                            </a:schemeClr>
                          </a:solidFill>
                        </a:rPr>
                        <a:t>Business / Marketing Plan</a:t>
                      </a:r>
                      <a:endParaRPr lang="en-US" sz="1400" b="1" dirty="0">
                        <a:solidFill>
                          <a:schemeClr val="tx1">
                            <a:alpha val="70000"/>
                          </a:schemeClr>
                        </a:solidFill>
                        <a:latin typeface="Segoe UI" panose="020B0502040204020203" pitchFamily="34" charset="0"/>
                        <a:ea typeface="Lato" panose="020F0502020204030203" pitchFamily="34" charset="0"/>
                        <a:cs typeface="Segoe UI" panose="020B0502040204020203" pitchFamily="34" charset="0"/>
                      </a:endParaRP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50520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endParaRPr sz="1200" dirty="0">
                        <a:solidFill>
                          <a:schemeClr val="tx2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5270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3220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endParaRPr sz="1200" dirty="0">
                        <a:solidFill>
                          <a:schemeClr val="tx2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5270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7665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endParaRPr sz="1200" dirty="0">
                        <a:solidFill>
                          <a:schemeClr val="tx2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5270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2886727"/>
                  </a:ext>
                </a:extLst>
              </a:tr>
              <a:tr h="596347">
                <a:tc>
                  <a:txBody>
                    <a:bodyPr/>
                    <a:lstStyle/>
                    <a:p>
                      <a:pPr marL="2268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accent1">
                              <a:alpha val="70000"/>
                            </a:schemeClr>
                          </a:solidFill>
                        </a:rPr>
                        <a:t>Secure</a:t>
                      </a:r>
                      <a:r>
                        <a:rPr lang="en-US" sz="1400" b="1" baseline="0" dirty="0">
                          <a:solidFill>
                            <a:schemeClr val="accent1">
                              <a:alpha val="70000"/>
                            </a:schemeClr>
                          </a:solidFill>
                        </a:rPr>
                        <a:t> Funding</a:t>
                      </a:r>
                      <a:endParaRPr lang="en-US" sz="1400" b="1" dirty="0">
                        <a:solidFill>
                          <a:schemeClr val="accent1">
                            <a:alpha val="70000"/>
                          </a:schemeClr>
                        </a:solidFill>
                        <a:latin typeface="Segoe UI" panose="020B0502040204020203" pitchFamily="34" charset="0"/>
                        <a:ea typeface="Lato" panose="020F0502020204030203" pitchFamily="34" charset="0"/>
                        <a:cs typeface="Segoe UI" panose="020B0502040204020203" pitchFamily="34" charset="0"/>
                      </a:endParaRP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0520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endParaRPr sz="1200" dirty="0">
                        <a:solidFill>
                          <a:schemeClr val="tx2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5270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63220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endParaRPr sz="1200" dirty="0">
                        <a:solidFill>
                          <a:schemeClr val="tx2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5270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67665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endParaRPr sz="1200" dirty="0">
                        <a:solidFill>
                          <a:schemeClr val="tx2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5270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1228187"/>
                  </a:ext>
                </a:extLst>
              </a:tr>
              <a:tr h="596347">
                <a:tc>
                  <a:txBody>
                    <a:bodyPr/>
                    <a:lstStyle/>
                    <a:p>
                      <a:pPr marL="2268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1">
                              <a:alpha val="70000"/>
                            </a:schemeClr>
                          </a:solidFill>
                        </a:rPr>
                        <a:t>Build</a:t>
                      </a:r>
                      <a:r>
                        <a:rPr lang="en-US" sz="1400" b="1" baseline="0" dirty="0">
                          <a:solidFill>
                            <a:schemeClr val="tx1">
                              <a:alpha val="70000"/>
                            </a:schemeClr>
                          </a:solidFill>
                        </a:rPr>
                        <a:t> Out</a:t>
                      </a:r>
                      <a:endParaRPr lang="en-US" sz="1400" b="1" dirty="0">
                        <a:solidFill>
                          <a:schemeClr val="tx1">
                            <a:alpha val="70000"/>
                          </a:schemeClr>
                        </a:solidFill>
                        <a:latin typeface="Segoe UI" panose="020B0502040204020203" pitchFamily="34" charset="0"/>
                        <a:ea typeface="Lato" panose="020F0502020204030203" pitchFamily="34" charset="0"/>
                        <a:cs typeface="Segoe UI" panose="020B0502040204020203" pitchFamily="34" charset="0"/>
                      </a:endParaRP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50520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endParaRPr sz="1200" dirty="0">
                        <a:solidFill>
                          <a:schemeClr val="tx2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5270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3220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endParaRPr sz="1200" dirty="0">
                        <a:solidFill>
                          <a:schemeClr val="tx2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5270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7665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endParaRPr sz="1200" dirty="0">
                        <a:solidFill>
                          <a:schemeClr val="tx2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5270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1273019"/>
                  </a:ext>
                </a:extLst>
              </a:tr>
              <a:tr h="596347">
                <a:tc>
                  <a:txBody>
                    <a:bodyPr/>
                    <a:lstStyle/>
                    <a:p>
                      <a:pPr marL="2268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accent1">
                              <a:alpha val="70000"/>
                            </a:schemeClr>
                          </a:solidFill>
                        </a:rPr>
                        <a:t>Grand</a:t>
                      </a:r>
                      <a:r>
                        <a:rPr lang="en-US" sz="1400" b="1" baseline="0" dirty="0">
                          <a:solidFill>
                            <a:schemeClr val="accent1">
                              <a:alpha val="70000"/>
                            </a:schemeClr>
                          </a:solidFill>
                        </a:rPr>
                        <a:t> Opening</a:t>
                      </a:r>
                      <a:endParaRPr lang="en-US" sz="1400" b="1" dirty="0">
                        <a:solidFill>
                          <a:schemeClr val="accent1">
                            <a:alpha val="70000"/>
                          </a:schemeClr>
                        </a:solidFill>
                        <a:latin typeface="Segoe UI" panose="020B0502040204020203" pitchFamily="34" charset="0"/>
                        <a:ea typeface="Lato" panose="020F0502020204030203" pitchFamily="34" charset="0"/>
                        <a:cs typeface="Segoe UI" panose="020B0502040204020203" pitchFamily="34" charset="0"/>
                      </a:endParaRP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052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endParaRPr sz="1200" dirty="0">
                        <a:solidFill>
                          <a:schemeClr val="tx2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469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6322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endParaRPr sz="1200" dirty="0">
                        <a:solidFill>
                          <a:schemeClr val="tx2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469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67665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endParaRPr sz="1200" dirty="0">
                        <a:solidFill>
                          <a:schemeClr val="tx2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469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3928045"/>
                  </a:ext>
                </a:extLst>
              </a:tr>
              <a:tr h="596347">
                <a:tc>
                  <a:txBody>
                    <a:bodyPr/>
                    <a:lstStyle/>
                    <a:p>
                      <a:pPr marL="226800"/>
                      <a:r>
                        <a:rPr lang="en-US" sz="1400" b="1" dirty="0">
                          <a:solidFill>
                            <a:schemeClr val="tx1">
                              <a:alpha val="70000"/>
                            </a:schemeClr>
                          </a:solidFill>
                        </a:rPr>
                        <a:t>Achieve</a:t>
                      </a:r>
                      <a:r>
                        <a:rPr lang="en-US" sz="1400" b="1" baseline="0" dirty="0">
                          <a:solidFill>
                            <a:schemeClr val="tx1">
                              <a:alpha val="70000"/>
                            </a:schemeClr>
                          </a:solidFill>
                        </a:rPr>
                        <a:t> 2000 + Billable Hours</a:t>
                      </a:r>
                      <a:endParaRPr lang="en-US" sz="1400" b="1" baseline="0" dirty="0">
                        <a:solidFill>
                          <a:schemeClr val="tx1">
                            <a:alpha val="70000"/>
                          </a:schemeClr>
                        </a:solidFill>
                        <a:latin typeface="Segoe UI" panose="020B0502040204020203" pitchFamily="34" charset="0"/>
                        <a:ea typeface="Lato" panose="020F0502020204030203" pitchFamily="34" charset="0"/>
                        <a:cs typeface="Segoe UI" panose="020B0502040204020203" pitchFamily="34" charset="0"/>
                      </a:endParaRP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5052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endParaRPr sz="1200" dirty="0">
                        <a:solidFill>
                          <a:schemeClr val="tx2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469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322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endParaRPr sz="1200" dirty="0">
                        <a:solidFill>
                          <a:schemeClr val="tx2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469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7665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endParaRPr sz="1200" dirty="0">
                        <a:solidFill>
                          <a:schemeClr val="tx2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4699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8066630"/>
                  </a:ext>
                </a:extLst>
              </a:tr>
            </a:tbl>
          </a:graphicData>
        </a:graphic>
      </p:graphicFrame>
      <p:sp>
        <p:nvSpPr>
          <p:cNvPr id="10" name="Rounded Rectangle 3" descr="Blue rectangle">
            <a:extLst>
              <a:ext uri="{FF2B5EF4-FFF2-40B4-BE49-F238E27FC236}">
                <a16:creationId xmlns:a16="http://schemas.microsoft.com/office/drawing/2014/main" id="{EB77E677-0739-46F4-AE7B-6BA7CDE3BB98}"/>
              </a:ext>
            </a:extLst>
          </p:cNvPr>
          <p:cNvSpPr/>
          <p:nvPr/>
        </p:nvSpPr>
        <p:spPr>
          <a:xfrm>
            <a:off x="3470455" y="2981667"/>
            <a:ext cx="1838760" cy="3276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1" name="Rounded Rectangle 15" descr="White rectangle">
            <a:extLst>
              <a:ext uri="{FF2B5EF4-FFF2-40B4-BE49-F238E27FC236}">
                <a16:creationId xmlns:a16="http://schemas.microsoft.com/office/drawing/2014/main" id="{8D7368F4-D8C2-452B-9E7A-BFE03C25A22E}"/>
              </a:ext>
            </a:extLst>
          </p:cNvPr>
          <p:cNvSpPr/>
          <p:nvPr/>
        </p:nvSpPr>
        <p:spPr>
          <a:xfrm>
            <a:off x="4757287" y="3559347"/>
            <a:ext cx="932577" cy="3276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2" name="Rounded Rectangle 16" descr="Blue rectangle">
            <a:extLst>
              <a:ext uri="{FF2B5EF4-FFF2-40B4-BE49-F238E27FC236}">
                <a16:creationId xmlns:a16="http://schemas.microsoft.com/office/drawing/2014/main" id="{DDAE81EB-0F97-479A-B63D-B102718BABE3}"/>
              </a:ext>
            </a:extLst>
          </p:cNvPr>
          <p:cNvSpPr/>
          <p:nvPr/>
        </p:nvSpPr>
        <p:spPr>
          <a:xfrm>
            <a:off x="5506745" y="4151229"/>
            <a:ext cx="2815326" cy="3276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3" name="Rounded Rectangle 17" descr="White rectangle">
            <a:extLst>
              <a:ext uri="{FF2B5EF4-FFF2-40B4-BE49-F238E27FC236}">
                <a16:creationId xmlns:a16="http://schemas.microsoft.com/office/drawing/2014/main" id="{7846A869-67E3-495C-94B0-430ABC77A13C}"/>
              </a:ext>
            </a:extLst>
          </p:cNvPr>
          <p:cNvSpPr/>
          <p:nvPr/>
        </p:nvSpPr>
        <p:spPr>
          <a:xfrm>
            <a:off x="7766019" y="4740606"/>
            <a:ext cx="307924" cy="3276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4" name="Rounded Rectangle 18" descr="Blue rectangle">
            <a:extLst>
              <a:ext uri="{FF2B5EF4-FFF2-40B4-BE49-F238E27FC236}">
                <a16:creationId xmlns:a16="http://schemas.microsoft.com/office/drawing/2014/main" id="{95D8F389-A8DF-4E35-ADA8-157AC252A6EC}"/>
              </a:ext>
            </a:extLst>
          </p:cNvPr>
          <p:cNvSpPr/>
          <p:nvPr/>
        </p:nvSpPr>
        <p:spPr>
          <a:xfrm>
            <a:off x="9200557" y="5315148"/>
            <a:ext cx="1073346" cy="3276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DDE79E8D-A65B-4E6D-9417-005E32685C50}"/>
              </a:ext>
            </a:extLst>
          </p:cNvPr>
          <p:cNvSpPr txBox="1">
            <a:spLocks/>
          </p:cNvSpPr>
          <p:nvPr/>
        </p:nvSpPr>
        <p:spPr>
          <a:xfrm>
            <a:off x="3742451" y="2256137"/>
            <a:ext cx="1142553" cy="37077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None/>
            </a:pPr>
            <a:r>
              <a:rPr lang="en-US" b="1" dirty="0">
                <a:solidFill>
                  <a:schemeClr val="bg1"/>
                </a:solidFill>
                <a:cs typeface="Segoe UI" panose="020B0502040204020203" pitchFamily="34" charset="0"/>
              </a:rPr>
              <a:t>2//1/YY</a:t>
            </a:r>
          </a:p>
        </p:txBody>
      </p:sp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F0AAED1E-419C-4885-9EC0-DB6EDF3BFA8D}"/>
              </a:ext>
            </a:extLst>
          </p:cNvPr>
          <p:cNvSpPr txBox="1">
            <a:spLocks/>
          </p:cNvSpPr>
          <p:nvPr/>
        </p:nvSpPr>
        <p:spPr>
          <a:xfrm>
            <a:off x="5354635" y="2256137"/>
            <a:ext cx="1188036" cy="41675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None/>
            </a:pPr>
            <a:r>
              <a:rPr lang="en-US" b="1" dirty="0">
                <a:solidFill>
                  <a:schemeClr val="bg1"/>
                </a:solidFill>
                <a:cs typeface="Segoe UI" panose="020B0502040204020203" pitchFamily="34" charset="0"/>
              </a:rPr>
              <a:t>5/12/YY</a:t>
            </a:r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A04A69BD-5A4C-4A4D-982B-D6BA073CE299}"/>
              </a:ext>
            </a:extLst>
          </p:cNvPr>
          <p:cNvSpPr txBox="1">
            <a:spLocks/>
          </p:cNvSpPr>
          <p:nvPr/>
        </p:nvSpPr>
        <p:spPr>
          <a:xfrm>
            <a:off x="7196005" y="2256137"/>
            <a:ext cx="1126066" cy="37077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None/>
            </a:pPr>
            <a:r>
              <a:rPr lang="en-US" b="1" dirty="0">
                <a:solidFill>
                  <a:schemeClr val="bg1"/>
                </a:solidFill>
                <a:cs typeface="Segoe UI" panose="020B0502040204020203" pitchFamily="34" charset="0"/>
              </a:rPr>
              <a:t>8/20/YY</a:t>
            </a:r>
          </a:p>
        </p:txBody>
      </p:sp>
      <p:sp>
        <p:nvSpPr>
          <p:cNvPr id="18" name="Content Placeholder 6">
            <a:extLst>
              <a:ext uri="{FF2B5EF4-FFF2-40B4-BE49-F238E27FC236}">
                <a16:creationId xmlns:a16="http://schemas.microsoft.com/office/drawing/2014/main" id="{419FFD22-414D-4FE3-8A96-8263DAB27BBE}"/>
              </a:ext>
            </a:extLst>
          </p:cNvPr>
          <p:cNvSpPr txBox="1">
            <a:spLocks/>
          </p:cNvSpPr>
          <p:nvPr/>
        </p:nvSpPr>
        <p:spPr>
          <a:xfrm>
            <a:off x="9092537" y="2256137"/>
            <a:ext cx="1289386" cy="41675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None/>
            </a:pPr>
            <a:r>
              <a:rPr lang="en-US" b="1" dirty="0">
                <a:solidFill>
                  <a:schemeClr val="bg1"/>
                </a:solidFill>
                <a:cs typeface="Segoe UI" panose="020B0502040204020203" pitchFamily="34" charset="0"/>
              </a:rPr>
              <a:t>11/28/YY</a:t>
            </a:r>
          </a:p>
        </p:txBody>
      </p:sp>
    </p:spTree>
    <p:extLst>
      <p:ext uri="{BB962C8B-B14F-4D97-AF65-F5344CB8AC3E}">
        <p14:creationId xmlns:p14="http://schemas.microsoft.com/office/powerpoint/2010/main" val="364470400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8985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26F5A3-B8AD-4B44-B8A2-1E95D76B39DD}"/>
              </a:ext>
            </a:extLst>
          </p:cNvPr>
          <p:cNvSpPr txBox="1"/>
          <p:nvPr/>
        </p:nvSpPr>
        <p:spPr>
          <a:xfrm>
            <a:off x="623887" y="1690688"/>
            <a:ext cx="5309415" cy="40011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FD26F5A3-B8AD-4B44-B8A2-1E95D76B39DD}"/>
              </a:ext>
            </a:extLst>
          </p:cNvPr>
          <p:cNvSpPr txBox="1"/>
          <p:nvPr/>
        </p:nvSpPr>
        <p:spPr>
          <a:xfrm>
            <a:off x="6385959" y="1690688"/>
            <a:ext cx="5218666" cy="40011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322" name="Isosceles Triangle 32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5400000">
            <a:off x="5894110" y="4145548"/>
            <a:ext cx="561703" cy="324681"/>
          </a:xfrm>
          <a:prstGeom prst="triangle">
            <a:avLst/>
          </a:prstGeom>
          <a:solidFill>
            <a:srgbClr val="969F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graphicFrame>
        <p:nvGraphicFramePr>
          <p:cNvPr id="51" name="Diagram 50" descr="SmartArt Graphic"/>
          <p:cNvGraphicFramePr/>
          <p:nvPr>
            <p:extLst>
              <p:ext uri="{D42A27DB-BD31-4B8C-83A1-F6EECF244321}">
                <p14:modId xmlns:p14="http://schemas.microsoft.com/office/powerpoint/2010/main" val="3863568589"/>
              </p:ext>
            </p:extLst>
          </p:nvPr>
        </p:nvGraphicFramePr>
        <p:xfrm>
          <a:off x="6373935" y="2247900"/>
          <a:ext cx="5218666" cy="40608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2" name="Diagram 51" descr="SmartArt Graphic"/>
          <p:cNvGraphicFramePr/>
          <p:nvPr>
            <p:extLst>
              <p:ext uri="{D42A27DB-BD31-4B8C-83A1-F6EECF244321}">
                <p14:modId xmlns:p14="http://schemas.microsoft.com/office/powerpoint/2010/main" val="964630045"/>
              </p:ext>
            </p:extLst>
          </p:nvPr>
        </p:nvGraphicFramePr>
        <p:xfrm>
          <a:off x="599399" y="2247900"/>
          <a:ext cx="5309415" cy="40608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225327416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723E368-8BEE-3BDB-35D5-C459F4827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738" y="368300"/>
            <a:ext cx="10980736" cy="1193888"/>
          </a:xfrm>
        </p:spPr>
        <p:txBody>
          <a:bodyPr/>
          <a:lstStyle/>
          <a:p>
            <a:endParaRPr lang="ru-RU" dirty="0"/>
          </a:p>
        </p:txBody>
      </p:sp>
      <p:graphicFrame>
        <p:nvGraphicFramePr>
          <p:cNvPr id="9" name="Content Placeholder 5" descr="Table">
            <a:extLst>
              <a:ext uri="{FF2B5EF4-FFF2-40B4-BE49-F238E27FC236}">
                <a16:creationId xmlns:a16="http://schemas.microsoft.com/office/drawing/2014/main" id="{4B0BCC78-A7E9-4210-BED1-FB0F136FA0BF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4060962437"/>
              </p:ext>
            </p:extLst>
          </p:nvPr>
        </p:nvGraphicFramePr>
        <p:xfrm>
          <a:off x="550863" y="4189906"/>
          <a:ext cx="11053762" cy="21188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30461">
                  <a:extLst>
                    <a:ext uri="{9D8B030D-6E8A-4147-A177-3AD203B41FA5}">
                      <a16:colId xmlns:a16="http://schemas.microsoft.com/office/drawing/2014/main" val="413496124"/>
                    </a:ext>
                  </a:extLst>
                </a:gridCol>
                <a:gridCol w="2049804">
                  <a:extLst>
                    <a:ext uri="{9D8B030D-6E8A-4147-A177-3AD203B41FA5}">
                      <a16:colId xmlns:a16="http://schemas.microsoft.com/office/drawing/2014/main" val="1609701450"/>
                    </a:ext>
                  </a:extLst>
                </a:gridCol>
                <a:gridCol w="2024499">
                  <a:extLst>
                    <a:ext uri="{9D8B030D-6E8A-4147-A177-3AD203B41FA5}">
                      <a16:colId xmlns:a16="http://schemas.microsoft.com/office/drawing/2014/main" val="3998250674"/>
                    </a:ext>
                  </a:extLst>
                </a:gridCol>
                <a:gridCol w="2024499">
                  <a:extLst>
                    <a:ext uri="{9D8B030D-6E8A-4147-A177-3AD203B41FA5}">
                      <a16:colId xmlns:a16="http://schemas.microsoft.com/office/drawing/2014/main" val="3885689842"/>
                    </a:ext>
                  </a:extLst>
                </a:gridCol>
                <a:gridCol w="2024499">
                  <a:extLst>
                    <a:ext uri="{9D8B030D-6E8A-4147-A177-3AD203B41FA5}">
                      <a16:colId xmlns:a16="http://schemas.microsoft.com/office/drawing/2014/main" val="2581020686"/>
                    </a:ext>
                  </a:extLst>
                </a:gridCol>
              </a:tblGrid>
              <a:tr h="277878">
                <a:tc>
                  <a:txBody>
                    <a:bodyPr/>
                    <a:lstStyle/>
                    <a:p>
                      <a:pPr marL="216000" algn="l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lang="en-US" sz="1400" b="1" spc="-5" dirty="0">
                          <a:solidFill>
                            <a:schemeClr val="tx1"/>
                          </a:solidFill>
                          <a:latin typeface="+mn-lt"/>
                          <a:cs typeface="Segoe UI" panose="020B0502040204020203" pitchFamily="34" charset="0"/>
                        </a:rPr>
                        <a:t>CUSTOMERS</a:t>
                      </a:r>
                      <a:endParaRPr sz="1400" dirty="0">
                        <a:solidFill>
                          <a:schemeClr val="tx1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16000" algn="l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b="1" dirty="0">
                          <a:solidFill>
                            <a:schemeClr val="tx1"/>
                          </a:solidFill>
                          <a:latin typeface="+mn-lt"/>
                          <a:cs typeface="Segoe UI" panose="020B0502040204020203" pitchFamily="34" charset="0"/>
                        </a:rPr>
                        <a:t>GROWTH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16000" algn="l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b="1" dirty="0">
                          <a:solidFill>
                            <a:schemeClr val="tx1"/>
                          </a:solidFill>
                          <a:latin typeface="+mn-lt"/>
                          <a:cs typeface="Segoe UI" panose="020B0502040204020203" pitchFamily="34" charset="0"/>
                        </a:rPr>
                        <a:t>YR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16000" algn="l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b="1" dirty="0">
                          <a:solidFill>
                            <a:schemeClr val="tx1"/>
                          </a:solidFill>
                          <a:latin typeface="+mn-lt"/>
                          <a:cs typeface="Segoe UI" panose="020B0502040204020203" pitchFamily="34" charset="0"/>
                        </a:rPr>
                        <a:t>YR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16000" algn="l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b="1" dirty="0">
                          <a:solidFill>
                            <a:schemeClr val="tx1"/>
                          </a:solidFill>
                          <a:latin typeface="+mn-lt"/>
                          <a:cs typeface="Segoe UI" panose="020B0502040204020203" pitchFamily="34" charset="0"/>
                        </a:rPr>
                        <a:t>YR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3940839"/>
                  </a:ext>
                </a:extLst>
              </a:tr>
              <a:tr h="291772">
                <a:tc>
                  <a:txBody>
                    <a:bodyPr/>
                    <a:lstStyle/>
                    <a:p>
                      <a:pPr marL="227965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lang="en-US" sz="1200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Customer 1</a:t>
                      </a:r>
                      <a:endParaRPr sz="120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sz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7%</a:t>
                      </a:r>
                      <a:endParaRPr sz="120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sz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$141,000</a:t>
                      </a:r>
                      <a:endParaRPr sz="120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sz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$150,870</a:t>
                      </a:r>
                      <a:endParaRPr sz="120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sz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$161,431</a:t>
                      </a:r>
                      <a:endParaRPr sz="120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2684356"/>
                  </a:ext>
                </a:extLst>
              </a:tr>
              <a:tr h="291772">
                <a:tc>
                  <a:txBody>
                    <a:bodyPr/>
                    <a:lstStyle/>
                    <a:p>
                      <a:pPr marL="227965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lang="en-US" sz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Customer 2</a:t>
                      </a:r>
                      <a:endParaRPr sz="1200" dirty="0">
                        <a:solidFill>
                          <a:schemeClr val="tx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5%</a:t>
                      </a:r>
                      <a:endParaRPr sz="1200" dirty="0">
                        <a:solidFill>
                          <a:schemeClr val="tx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$63,000</a:t>
                      </a:r>
                      <a:endParaRPr sz="1200" dirty="0">
                        <a:solidFill>
                          <a:schemeClr val="tx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$66,150</a:t>
                      </a:r>
                      <a:endParaRPr sz="1200" dirty="0">
                        <a:solidFill>
                          <a:schemeClr val="tx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$69,457</a:t>
                      </a:r>
                      <a:endParaRPr sz="1200" dirty="0">
                        <a:solidFill>
                          <a:schemeClr val="tx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9552476"/>
                  </a:ext>
                </a:extLst>
              </a:tr>
              <a:tr h="291772">
                <a:tc>
                  <a:txBody>
                    <a:bodyPr/>
                    <a:lstStyle/>
                    <a:p>
                      <a:pPr marL="227965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lang="en-US" sz="1200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Customer 3</a:t>
                      </a:r>
                      <a:endParaRPr sz="120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10%</a:t>
                      </a:r>
                      <a:endParaRPr sz="120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$51,000</a:t>
                      </a:r>
                      <a:endParaRPr sz="120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$56,100</a:t>
                      </a:r>
                      <a:endParaRPr sz="120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$61,710</a:t>
                      </a:r>
                      <a:endParaRPr sz="120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2765872"/>
                  </a:ext>
                </a:extLst>
              </a:tr>
              <a:tr h="333453">
                <a:tc>
                  <a:txBody>
                    <a:bodyPr/>
                    <a:lstStyle/>
                    <a:p>
                      <a:pPr marL="227965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Customer 4</a:t>
                      </a:r>
                      <a:endParaRPr sz="1200" dirty="0">
                        <a:solidFill>
                          <a:schemeClr val="tx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sz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7%*</a:t>
                      </a:r>
                      <a:endParaRPr sz="1200" dirty="0">
                        <a:solidFill>
                          <a:schemeClr val="tx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sz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$21,000</a:t>
                      </a:r>
                      <a:endParaRPr sz="1200" dirty="0">
                        <a:solidFill>
                          <a:schemeClr val="tx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sz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$22,470</a:t>
                      </a:r>
                      <a:endParaRPr sz="1200" dirty="0">
                        <a:solidFill>
                          <a:schemeClr val="tx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sz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$24,043</a:t>
                      </a:r>
                      <a:endParaRPr sz="1200" dirty="0">
                        <a:solidFill>
                          <a:schemeClr val="tx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5265811"/>
                  </a:ext>
                </a:extLst>
              </a:tr>
              <a:tr h="291772">
                <a:tc>
                  <a:txBody>
                    <a:bodyPr/>
                    <a:lstStyle/>
                    <a:p>
                      <a:pPr marL="227965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Customer 5</a:t>
                      </a:r>
                      <a:endParaRPr sz="120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6.4%**</a:t>
                      </a:r>
                      <a:endParaRPr sz="120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$24,000</a:t>
                      </a:r>
                      <a:endParaRPr sz="120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$25,536</a:t>
                      </a:r>
                      <a:endParaRPr sz="120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$27,170</a:t>
                      </a:r>
                      <a:endParaRPr sz="1200" dirty="0">
                        <a:solidFill>
                          <a:schemeClr val="bg1">
                            <a:alpha val="70000"/>
                          </a:schemeClr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6156338"/>
                  </a:ext>
                </a:extLst>
              </a:tr>
              <a:tr h="340400">
                <a:tc>
                  <a:txBody>
                    <a:bodyPr/>
                    <a:lstStyle/>
                    <a:p>
                      <a:pPr marL="227965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600" b="1" spc="-25" dirty="0">
                          <a:solidFill>
                            <a:srgbClr val="FFFFFF"/>
                          </a:solidFill>
                          <a:latin typeface="+mn-lt"/>
                          <a:cs typeface="Segoe UI" panose="020B0502040204020203" pitchFamily="34" charset="0"/>
                        </a:rPr>
                        <a:t>TOTAL</a:t>
                      </a:r>
                      <a:endParaRPr sz="1600" dirty="0">
                        <a:solidFill>
                          <a:srgbClr val="FFFFFF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600" b="1" spc="-5" dirty="0">
                          <a:solidFill>
                            <a:srgbClr val="FFFFFF"/>
                          </a:solidFill>
                          <a:latin typeface="+mn-lt"/>
                          <a:cs typeface="Segoe UI" panose="020B0502040204020203" pitchFamily="34" charset="0"/>
                        </a:rPr>
                        <a:t>2.8%</a:t>
                      </a:r>
                      <a:endParaRPr sz="1600" dirty="0">
                        <a:solidFill>
                          <a:srgbClr val="FFFFFF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600" b="1" spc="-5" dirty="0">
                          <a:solidFill>
                            <a:srgbClr val="FFFFFF"/>
                          </a:solidFill>
                          <a:latin typeface="+mn-lt"/>
                          <a:cs typeface="Segoe UI" panose="020B0502040204020203" pitchFamily="34" charset="0"/>
                        </a:rPr>
                        <a:t>$300,000</a:t>
                      </a:r>
                      <a:endParaRPr sz="1600" dirty="0">
                        <a:solidFill>
                          <a:srgbClr val="FFFFFF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600" b="1" spc="-5" dirty="0">
                          <a:solidFill>
                            <a:srgbClr val="FFFFFF"/>
                          </a:solidFill>
                          <a:latin typeface="+mn-lt"/>
                          <a:cs typeface="Segoe UI" panose="020B0502040204020203" pitchFamily="34" charset="0"/>
                        </a:rPr>
                        <a:t>$321,126</a:t>
                      </a:r>
                      <a:endParaRPr sz="1600" dirty="0">
                        <a:solidFill>
                          <a:srgbClr val="FFFFFF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600" b="1" spc="-15" dirty="0">
                          <a:solidFill>
                            <a:srgbClr val="FFFFFF"/>
                          </a:solidFill>
                          <a:latin typeface="+mn-lt"/>
                          <a:cs typeface="Segoe UI" panose="020B0502040204020203" pitchFamily="34" charset="0"/>
                        </a:rPr>
                        <a:t>$343,811</a:t>
                      </a:r>
                      <a:endParaRPr sz="1600" dirty="0">
                        <a:solidFill>
                          <a:srgbClr val="FFFFFF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3520282"/>
                  </a:ext>
                </a:extLst>
              </a:tr>
            </a:tbl>
          </a:graphicData>
        </a:graphic>
      </p:graphicFrame>
      <p:graphicFrame>
        <p:nvGraphicFramePr>
          <p:cNvPr id="27" name="Content Placeholder 26" descr="Chart">
            <a:extLst>
              <a:ext uri="{FF2B5EF4-FFF2-40B4-BE49-F238E27FC236}">
                <a16:creationId xmlns:a16="http://schemas.microsoft.com/office/drawing/2014/main" id="{8B7962D3-FAFD-4B86-A9C4-A868A9DF6045}"/>
              </a:ext>
            </a:extLst>
          </p:cNvPr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3560070904"/>
              </p:ext>
            </p:extLst>
          </p:nvPr>
        </p:nvGraphicFramePr>
        <p:xfrm>
          <a:off x="1021467" y="1732748"/>
          <a:ext cx="1971675" cy="1738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Content Placeholder 11" descr="Chart">
            <a:extLst>
              <a:ext uri="{FF2B5EF4-FFF2-40B4-BE49-F238E27FC236}">
                <a16:creationId xmlns:a16="http://schemas.microsoft.com/office/drawing/2014/main" id="{B880674A-C407-4235-A8D0-4F3C148E035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0371253"/>
              </p:ext>
            </p:extLst>
          </p:nvPr>
        </p:nvGraphicFramePr>
        <p:xfrm>
          <a:off x="2957453" y="1724978"/>
          <a:ext cx="2217419" cy="1738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3" name="Content Placeholder 11" descr="Chart">
            <a:extLst>
              <a:ext uri="{FF2B5EF4-FFF2-40B4-BE49-F238E27FC236}">
                <a16:creationId xmlns:a16="http://schemas.microsoft.com/office/drawing/2014/main" id="{4965B496-2DD8-4644-BD32-C792562A4A9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18552572"/>
              </p:ext>
            </p:extLst>
          </p:nvPr>
        </p:nvGraphicFramePr>
        <p:xfrm>
          <a:off x="5000505" y="1731491"/>
          <a:ext cx="2217419" cy="1738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4" name="Content Placeholder 11" descr="Chart">
            <a:extLst>
              <a:ext uri="{FF2B5EF4-FFF2-40B4-BE49-F238E27FC236}">
                <a16:creationId xmlns:a16="http://schemas.microsoft.com/office/drawing/2014/main" id="{929A89A4-A764-4573-A43E-D883B54D579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84344889"/>
              </p:ext>
            </p:extLst>
          </p:nvPr>
        </p:nvGraphicFramePr>
        <p:xfrm>
          <a:off x="7043557" y="1706873"/>
          <a:ext cx="2217419" cy="1738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5" name="Content Placeholder 11" descr="Chart">
            <a:extLst>
              <a:ext uri="{FF2B5EF4-FFF2-40B4-BE49-F238E27FC236}">
                <a16:creationId xmlns:a16="http://schemas.microsoft.com/office/drawing/2014/main" id="{F8366091-405D-481E-B7F7-8B8F64FD1C8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98518765"/>
              </p:ext>
            </p:extLst>
          </p:nvPr>
        </p:nvGraphicFramePr>
        <p:xfrm>
          <a:off x="9086607" y="1690688"/>
          <a:ext cx="2217419" cy="1738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6" name="object 21">
            <a:extLst>
              <a:ext uri="{FF2B5EF4-FFF2-40B4-BE49-F238E27FC236}">
                <a16:creationId xmlns:a16="http://schemas.microsoft.com/office/drawing/2014/main" id="{FDFE3336-0975-4022-813D-426DF2A2CDE3}"/>
              </a:ext>
            </a:extLst>
          </p:cNvPr>
          <p:cNvSpPr txBox="1"/>
          <p:nvPr/>
        </p:nvSpPr>
        <p:spPr bwMode="white">
          <a:xfrm>
            <a:off x="3314623" y="3450135"/>
            <a:ext cx="1508125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1400" spc="-5" dirty="0">
                <a:cs typeface="Segoe UI" panose="020B0502040204020203" pitchFamily="34" charset="0"/>
              </a:rPr>
              <a:t>Customer 2</a:t>
            </a:r>
            <a:endParaRPr lang="en-US" sz="1400" dirty="0">
              <a:cs typeface="Segoe UI" panose="020B0502040204020203" pitchFamily="34" charset="0"/>
            </a:endParaRPr>
          </a:p>
        </p:txBody>
      </p:sp>
      <p:sp>
        <p:nvSpPr>
          <p:cNvPr id="17" name="object 22">
            <a:extLst>
              <a:ext uri="{FF2B5EF4-FFF2-40B4-BE49-F238E27FC236}">
                <a16:creationId xmlns:a16="http://schemas.microsoft.com/office/drawing/2014/main" id="{D0254F3B-D1FC-4502-9765-D274E419877A}"/>
              </a:ext>
            </a:extLst>
          </p:cNvPr>
          <p:cNvSpPr txBox="1"/>
          <p:nvPr/>
        </p:nvSpPr>
        <p:spPr bwMode="white">
          <a:xfrm>
            <a:off x="5587782" y="3450135"/>
            <a:ext cx="1053465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1400" dirty="0">
                <a:cs typeface="Segoe UI" panose="020B0502040204020203" pitchFamily="34" charset="0"/>
              </a:rPr>
              <a:t>Customer 3</a:t>
            </a:r>
          </a:p>
        </p:txBody>
      </p:sp>
      <p:sp>
        <p:nvSpPr>
          <p:cNvPr id="18" name="object 23">
            <a:extLst>
              <a:ext uri="{FF2B5EF4-FFF2-40B4-BE49-F238E27FC236}">
                <a16:creationId xmlns:a16="http://schemas.microsoft.com/office/drawing/2014/main" id="{04B2FD88-02F5-4328-AB03-EB8EC1A481F7}"/>
              </a:ext>
            </a:extLst>
          </p:cNvPr>
          <p:cNvSpPr txBox="1"/>
          <p:nvPr/>
        </p:nvSpPr>
        <p:spPr bwMode="white">
          <a:xfrm>
            <a:off x="7485241" y="3450135"/>
            <a:ext cx="1349375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1400" spc="-5" dirty="0">
                <a:cs typeface="Segoe UI" panose="020B0502040204020203" pitchFamily="34" charset="0"/>
              </a:rPr>
              <a:t>Customer 4</a:t>
            </a:r>
            <a:endParaRPr lang="en-US" sz="1400" dirty="0">
              <a:cs typeface="Segoe UI" panose="020B0502040204020203" pitchFamily="34" charset="0"/>
            </a:endParaRPr>
          </a:p>
        </p:txBody>
      </p:sp>
      <p:sp>
        <p:nvSpPr>
          <p:cNvPr id="19" name="object 24">
            <a:extLst>
              <a:ext uri="{FF2B5EF4-FFF2-40B4-BE49-F238E27FC236}">
                <a16:creationId xmlns:a16="http://schemas.microsoft.com/office/drawing/2014/main" id="{7A33CD89-F67A-4378-8AFD-C60011F6DBB4}"/>
              </a:ext>
            </a:extLst>
          </p:cNvPr>
          <p:cNvSpPr txBox="1"/>
          <p:nvPr/>
        </p:nvSpPr>
        <p:spPr bwMode="white">
          <a:xfrm>
            <a:off x="9653275" y="3443110"/>
            <a:ext cx="1092835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1400" spc="-5" dirty="0">
                <a:cs typeface="Segoe UI" panose="020B0502040204020203" pitchFamily="34" charset="0"/>
              </a:rPr>
              <a:t>Customer 5</a:t>
            </a:r>
            <a:endParaRPr lang="en-US" sz="1400" dirty="0">
              <a:cs typeface="Segoe UI" panose="020B0502040204020203" pitchFamily="34" charset="0"/>
            </a:endParaRPr>
          </a:p>
        </p:txBody>
      </p:sp>
      <p:sp>
        <p:nvSpPr>
          <p:cNvPr id="20" name="object 20">
            <a:extLst>
              <a:ext uri="{FF2B5EF4-FFF2-40B4-BE49-F238E27FC236}">
                <a16:creationId xmlns:a16="http://schemas.microsoft.com/office/drawing/2014/main" id="{2306528A-EF2E-492E-846A-8645AF605E9C}"/>
              </a:ext>
            </a:extLst>
          </p:cNvPr>
          <p:cNvSpPr txBox="1"/>
          <p:nvPr/>
        </p:nvSpPr>
        <p:spPr bwMode="white">
          <a:xfrm>
            <a:off x="1352467" y="2360515"/>
            <a:ext cx="1359535" cy="47448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3000" dirty="0">
                <a:latin typeface="+mj-lt"/>
                <a:cs typeface="Segoe UI" panose="020B0502040204020203" pitchFamily="34" charset="0"/>
              </a:rPr>
              <a:t>47%</a:t>
            </a:r>
          </a:p>
        </p:txBody>
      </p:sp>
      <p:sp>
        <p:nvSpPr>
          <p:cNvPr id="21" name="object 21">
            <a:extLst>
              <a:ext uri="{FF2B5EF4-FFF2-40B4-BE49-F238E27FC236}">
                <a16:creationId xmlns:a16="http://schemas.microsoft.com/office/drawing/2014/main" id="{2E9BBF33-FFEE-40F5-A249-CEA0DCAE3BE2}"/>
              </a:ext>
            </a:extLst>
          </p:cNvPr>
          <p:cNvSpPr txBox="1"/>
          <p:nvPr/>
        </p:nvSpPr>
        <p:spPr bwMode="white">
          <a:xfrm>
            <a:off x="3314623" y="2361419"/>
            <a:ext cx="1508125" cy="47448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3000" spc="-5" dirty="0">
                <a:latin typeface="+mj-lt"/>
                <a:cs typeface="Segoe UI" panose="020B0502040204020203" pitchFamily="34" charset="0"/>
              </a:rPr>
              <a:t>21%</a:t>
            </a:r>
            <a:endParaRPr lang="en-US" sz="3000" dirty="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22" name="object 22">
            <a:extLst>
              <a:ext uri="{FF2B5EF4-FFF2-40B4-BE49-F238E27FC236}">
                <a16:creationId xmlns:a16="http://schemas.microsoft.com/office/drawing/2014/main" id="{891776FB-6173-49D8-9F32-944FBC4EABB1}"/>
              </a:ext>
            </a:extLst>
          </p:cNvPr>
          <p:cNvSpPr txBox="1"/>
          <p:nvPr/>
        </p:nvSpPr>
        <p:spPr bwMode="white">
          <a:xfrm>
            <a:off x="5587782" y="2361419"/>
            <a:ext cx="1053465" cy="47448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3000" dirty="0">
                <a:latin typeface="+mj-lt"/>
                <a:cs typeface="Segoe UI" panose="020B0502040204020203" pitchFamily="34" charset="0"/>
              </a:rPr>
              <a:t>17%</a:t>
            </a:r>
          </a:p>
        </p:txBody>
      </p:sp>
      <p:sp>
        <p:nvSpPr>
          <p:cNvPr id="23" name="object 23">
            <a:extLst>
              <a:ext uri="{FF2B5EF4-FFF2-40B4-BE49-F238E27FC236}">
                <a16:creationId xmlns:a16="http://schemas.microsoft.com/office/drawing/2014/main" id="{3689D36F-0E74-439C-8BF7-BE388B2B4545}"/>
              </a:ext>
            </a:extLst>
          </p:cNvPr>
          <p:cNvSpPr txBox="1"/>
          <p:nvPr/>
        </p:nvSpPr>
        <p:spPr bwMode="white">
          <a:xfrm>
            <a:off x="7485241" y="2361419"/>
            <a:ext cx="1349375" cy="47448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3000" spc="-5" dirty="0">
                <a:latin typeface="+mj-lt"/>
                <a:cs typeface="Segoe UI" panose="020B0502040204020203" pitchFamily="34" charset="0"/>
              </a:rPr>
              <a:t>37%</a:t>
            </a:r>
            <a:endParaRPr lang="en-US" sz="3000" dirty="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24" name="object 24">
            <a:extLst>
              <a:ext uri="{FF2B5EF4-FFF2-40B4-BE49-F238E27FC236}">
                <a16:creationId xmlns:a16="http://schemas.microsoft.com/office/drawing/2014/main" id="{9396CD8C-7E7D-4CBC-AFB3-A4424860B64E}"/>
              </a:ext>
            </a:extLst>
          </p:cNvPr>
          <p:cNvSpPr txBox="1"/>
          <p:nvPr/>
        </p:nvSpPr>
        <p:spPr bwMode="white">
          <a:xfrm>
            <a:off x="9653275" y="2354394"/>
            <a:ext cx="1092835" cy="47448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3000" spc="-5" dirty="0">
                <a:latin typeface="+mj-lt"/>
                <a:cs typeface="Segoe UI" panose="020B0502040204020203" pitchFamily="34" charset="0"/>
              </a:rPr>
              <a:t>45%</a:t>
            </a:r>
            <a:endParaRPr lang="en-US" sz="3000" dirty="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28" name="object 20">
            <a:extLst>
              <a:ext uri="{FF2B5EF4-FFF2-40B4-BE49-F238E27FC236}">
                <a16:creationId xmlns:a16="http://schemas.microsoft.com/office/drawing/2014/main" id="{B36D2764-7743-4684-BE95-4AE88B7DB06A}"/>
              </a:ext>
            </a:extLst>
          </p:cNvPr>
          <p:cNvSpPr txBox="1"/>
          <p:nvPr/>
        </p:nvSpPr>
        <p:spPr bwMode="white">
          <a:xfrm>
            <a:off x="1352467" y="3449231"/>
            <a:ext cx="1359535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1400" dirty="0">
                <a:cs typeface="Segoe UI" panose="020B0502040204020203" pitchFamily="34" charset="0"/>
              </a:rPr>
              <a:t>Customer 1</a:t>
            </a:r>
          </a:p>
        </p:txBody>
      </p:sp>
    </p:spTree>
    <p:extLst>
      <p:ext uri="{BB962C8B-B14F-4D97-AF65-F5344CB8AC3E}">
        <p14:creationId xmlns:p14="http://schemas.microsoft.com/office/powerpoint/2010/main" val="221209063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Content Placeholder 11" descr="Chart">
            <a:extLst>
              <a:ext uri="{FF2B5EF4-FFF2-40B4-BE49-F238E27FC236}">
                <a16:creationId xmlns:a16="http://schemas.microsoft.com/office/drawing/2014/main" id="{4B8F47FF-84A1-4BFF-9183-1D0D7589967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04991918"/>
              </p:ext>
            </p:extLst>
          </p:nvPr>
        </p:nvGraphicFramePr>
        <p:xfrm>
          <a:off x="6648675" y="2053173"/>
          <a:ext cx="1481012" cy="11610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372FF7EF-251B-599B-2ED3-6F7DBA892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738" y="368300"/>
            <a:ext cx="10980736" cy="1193888"/>
          </a:xfrm>
        </p:spPr>
        <p:txBody>
          <a:bodyPr/>
          <a:lstStyle/>
          <a:p>
            <a:endParaRPr lang="ru-RU" dirty="0"/>
          </a:p>
        </p:txBody>
      </p:sp>
      <p:graphicFrame>
        <p:nvGraphicFramePr>
          <p:cNvPr id="9" name="Content Placeholder 5">
            <a:extLst>
              <a:ext uri="{FF2B5EF4-FFF2-40B4-BE49-F238E27FC236}">
                <a16:creationId xmlns:a16="http://schemas.microsoft.com/office/drawing/2014/main" id="{4B0BCC78-A7E9-4210-BED1-FB0F136FA0BF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581952045"/>
              </p:ext>
            </p:extLst>
          </p:nvPr>
        </p:nvGraphicFramePr>
        <p:xfrm>
          <a:off x="932990" y="4088664"/>
          <a:ext cx="10356289" cy="21188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5553">
                  <a:extLst>
                    <a:ext uri="{9D8B030D-6E8A-4147-A177-3AD203B41FA5}">
                      <a16:colId xmlns:a16="http://schemas.microsoft.com/office/drawing/2014/main" val="413496124"/>
                    </a:ext>
                  </a:extLst>
                </a:gridCol>
                <a:gridCol w="1920465">
                  <a:extLst>
                    <a:ext uri="{9D8B030D-6E8A-4147-A177-3AD203B41FA5}">
                      <a16:colId xmlns:a16="http://schemas.microsoft.com/office/drawing/2014/main" val="1609701450"/>
                    </a:ext>
                  </a:extLst>
                </a:gridCol>
                <a:gridCol w="1896757">
                  <a:extLst>
                    <a:ext uri="{9D8B030D-6E8A-4147-A177-3AD203B41FA5}">
                      <a16:colId xmlns:a16="http://schemas.microsoft.com/office/drawing/2014/main" val="3998250674"/>
                    </a:ext>
                  </a:extLst>
                </a:gridCol>
                <a:gridCol w="1896757">
                  <a:extLst>
                    <a:ext uri="{9D8B030D-6E8A-4147-A177-3AD203B41FA5}">
                      <a16:colId xmlns:a16="http://schemas.microsoft.com/office/drawing/2014/main" val="3885689842"/>
                    </a:ext>
                  </a:extLst>
                </a:gridCol>
                <a:gridCol w="1896757">
                  <a:extLst>
                    <a:ext uri="{9D8B030D-6E8A-4147-A177-3AD203B41FA5}">
                      <a16:colId xmlns:a16="http://schemas.microsoft.com/office/drawing/2014/main" val="2581020686"/>
                    </a:ext>
                  </a:extLst>
                </a:gridCol>
              </a:tblGrid>
              <a:tr h="277878">
                <a:tc>
                  <a:txBody>
                    <a:bodyPr/>
                    <a:lstStyle/>
                    <a:p>
                      <a:pPr marL="216000" algn="l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b="1" spc="-5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CUSTOMERS</a:t>
                      </a:r>
                      <a:endParaRPr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16000" algn="l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b="1" kern="1200" spc="-5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GROWTH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16000" algn="l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b="1" kern="1200" spc="-5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YR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16000" algn="l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b="1" kern="1200" spc="-5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YR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16000" algn="l">
                        <a:lnSpc>
                          <a:spcPct val="100000"/>
                        </a:lnSpc>
                        <a:spcBef>
                          <a:spcPts val="785"/>
                        </a:spcBef>
                      </a:pPr>
                      <a:r>
                        <a:rPr sz="1400" b="1" kern="1200" spc="-5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YR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3940839"/>
                  </a:ext>
                </a:extLst>
              </a:tr>
              <a:tr h="291772"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kern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Customer 1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kern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2%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kern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$15000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kern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$15300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kern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$15606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2684356"/>
                  </a:ext>
                </a:extLst>
              </a:tr>
              <a:tr h="291772">
                <a:tc>
                  <a:txBody>
                    <a:bodyPr/>
                    <a:lstStyle/>
                    <a:p>
                      <a:pPr marL="22796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Customer 2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kern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5%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796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$25000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kern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$26250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kern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$27563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9552476"/>
                  </a:ext>
                </a:extLst>
              </a:tr>
              <a:tr h="291772">
                <a:tc>
                  <a:txBody>
                    <a:bodyPr/>
                    <a:lstStyle/>
                    <a:p>
                      <a:pPr marL="22796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Customer 3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kern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5%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kern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$20000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kern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$21000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kern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$22050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2765872"/>
                  </a:ext>
                </a:extLst>
              </a:tr>
              <a:tr h="333453">
                <a:tc>
                  <a:txBody>
                    <a:bodyPr/>
                    <a:lstStyle/>
                    <a:p>
                      <a:pPr marL="22796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Customer 4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kern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1%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kern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$5000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kern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$5050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7965" algn="l" defTabSz="914400" rtl="0" eaLnBrk="1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en-US" sz="1200" kern="1200" spc="-5" dirty="0">
                          <a:solidFill>
                            <a:schemeClr val="tx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$5101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5265811"/>
                  </a:ext>
                </a:extLst>
              </a:tr>
              <a:tr h="291772">
                <a:tc>
                  <a:txBody>
                    <a:bodyPr/>
                    <a:lstStyle/>
                    <a:p>
                      <a:pPr marL="22796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Customer 5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796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1%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796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$5000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796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$5050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796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4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spc="-5" dirty="0">
                          <a:solidFill>
                            <a:schemeClr val="bg1">
                              <a:alpha val="70000"/>
                            </a:schemeClr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$5101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6156338"/>
                  </a:ext>
                </a:extLst>
              </a:tr>
              <a:tr h="340400"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600" b="1" spc="-25" dirty="0">
                          <a:solidFill>
                            <a:srgbClr val="FFFFFF"/>
                          </a:solidFill>
                          <a:latin typeface="+mn-lt"/>
                          <a:cs typeface="Segoe UI" panose="020B0502040204020203" pitchFamily="34" charset="0"/>
                        </a:rPr>
                        <a:t>TOTAL</a:t>
                      </a:r>
                      <a:endParaRPr sz="1600" dirty="0">
                        <a:solidFill>
                          <a:srgbClr val="FFFFFF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600" b="1" spc="-5" dirty="0">
                          <a:solidFill>
                            <a:srgbClr val="FFFFFF"/>
                          </a:solidFill>
                          <a:latin typeface="+mn-lt"/>
                          <a:cs typeface="Segoe UI" panose="020B0502040204020203" pitchFamily="34" charset="0"/>
                        </a:rPr>
                        <a:t>2.8%</a:t>
                      </a:r>
                      <a:endParaRPr sz="1600" dirty="0">
                        <a:solidFill>
                          <a:srgbClr val="FFFFFF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600" b="1" spc="-5" dirty="0">
                          <a:solidFill>
                            <a:srgbClr val="FFFFFF"/>
                          </a:solidFill>
                          <a:latin typeface="+mn-lt"/>
                          <a:cs typeface="Segoe UI" panose="020B0502040204020203" pitchFamily="34" charset="0"/>
                        </a:rPr>
                        <a:t>$</a:t>
                      </a:r>
                      <a:r>
                        <a:rPr lang="en-US" sz="1600" b="1" spc="-5" dirty="0">
                          <a:solidFill>
                            <a:srgbClr val="FFFFFF"/>
                          </a:solidFill>
                          <a:latin typeface="+mn-lt"/>
                          <a:cs typeface="Segoe UI" panose="020B0502040204020203" pitchFamily="34" charset="0"/>
                        </a:rPr>
                        <a:t>7</a:t>
                      </a:r>
                      <a:r>
                        <a:rPr sz="1600" b="1" spc="-5" dirty="0">
                          <a:solidFill>
                            <a:srgbClr val="FFFFFF"/>
                          </a:solidFill>
                          <a:latin typeface="+mn-lt"/>
                          <a:cs typeface="Segoe UI" panose="020B0502040204020203" pitchFamily="34" charset="0"/>
                        </a:rPr>
                        <a:t>0000</a:t>
                      </a:r>
                      <a:endParaRPr sz="1600" dirty="0">
                        <a:solidFill>
                          <a:srgbClr val="FFFFFF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600" b="1" spc="-5" dirty="0">
                          <a:solidFill>
                            <a:srgbClr val="FFFFFF"/>
                          </a:solidFill>
                          <a:latin typeface="+mn-lt"/>
                          <a:cs typeface="Segoe UI" panose="020B0502040204020203" pitchFamily="34" charset="0"/>
                        </a:rPr>
                        <a:t>$</a:t>
                      </a:r>
                      <a:r>
                        <a:rPr lang="en-US" sz="1600" b="1" spc="-5" dirty="0">
                          <a:solidFill>
                            <a:srgbClr val="FFFFFF"/>
                          </a:solidFill>
                          <a:latin typeface="+mn-lt"/>
                          <a:cs typeface="Segoe UI" panose="020B0502040204020203" pitchFamily="34" charset="0"/>
                        </a:rPr>
                        <a:t>72650</a:t>
                      </a:r>
                      <a:endParaRPr sz="1600" dirty="0">
                        <a:solidFill>
                          <a:srgbClr val="FFFFFF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26800">
                        <a:lnSpc>
                          <a:spcPct val="100000"/>
                        </a:lnSpc>
                        <a:spcBef>
                          <a:spcPts val="370"/>
                        </a:spcBef>
                      </a:pPr>
                      <a:r>
                        <a:rPr sz="1600" b="1" spc="-15" dirty="0">
                          <a:solidFill>
                            <a:srgbClr val="FFFFFF"/>
                          </a:solidFill>
                          <a:latin typeface="+mn-lt"/>
                          <a:cs typeface="Segoe UI" panose="020B0502040204020203" pitchFamily="34" charset="0"/>
                        </a:rPr>
                        <a:t>$</a:t>
                      </a:r>
                      <a:r>
                        <a:rPr lang="en-US" sz="1600" b="1" spc="-15" dirty="0">
                          <a:solidFill>
                            <a:srgbClr val="FFFFFF"/>
                          </a:solidFill>
                          <a:latin typeface="+mn-lt"/>
                          <a:cs typeface="Segoe UI" panose="020B0502040204020203" pitchFamily="34" charset="0"/>
                        </a:rPr>
                        <a:t>75420</a:t>
                      </a:r>
                      <a:endParaRPr sz="1600" dirty="0">
                        <a:solidFill>
                          <a:srgbClr val="FFFFFF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3520282"/>
                  </a:ext>
                </a:extLst>
              </a:tr>
            </a:tbl>
          </a:graphicData>
        </a:graphic>
      </p:graphicFrame>
      <p:graphicFrame>
        <p:nvGraphicFramePr>
          <p:cNvPr id="27" name="Content Placeholder 26" descr="Chart">
            <a:extLst>
              <a:ext uri="{FF2B5EF4-FFF2-40B4-BE49-F238E27FC236}">
                <a16:creationId xmlns:a16="http://schemas.microsoft.com/office/drawing/2014/main" id="{8B7962D3-FAFD-4B86-A9C4-A868A9DF6045}"/>
              </a:ext>
            </a:extLst>
          </p:cNvPr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915600562"/>
              </p:ext>
            </p:extLst>
          </p:nvPr>
        </p:nvGraphicFramePr>
        <p:xfrm>
          <a:off x="615800" y="2042464"/>
          <a:ext cx="1317625" cy="1162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Content Placeholder 11" descr="Chart">
            <a:extLst>
              <a:ext uri="{FF2B5EF4-FFF2-40B4-BE49-F238E27FC236}">
                <a16:creationId xmlns:a16="http://schemas.microsoft.com/office/drawing/2014/main" id="{B880674A-C407-4235-A8D0-4F3C148E035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7649880"/>
              </p:ext>
            </p:extLst>
          </p:nvPr>
        </p:nvGraphicFramePr>
        <p:xfrm>
          <a:off x="1930164" y="2053173"/>
          <a:ext cx="1481012" cy="11610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3" name="Content Placeholder 11" descr="Chart">
            <a:extLst>
              <a:ext uri="{FF2B5EF4-FFF2-40B4-BE49-F238E27FC236}">
                <a16:creationId xmlns:a16="http://schemas.microsoft.com/office/drawing/2014/main" id="{4965B496-2DD8-4644-BD32-C792562A4A9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0294825"/>
              </p:ext>
            </p:extLst>
          </p:nvPr>
        </p:nvGraphicFramePr>
        <p:xfrm>
          <a:off x="3381080" y="2053173"/>
          <a:ext cx="1481012" cy="11610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4" name="Content Placeholder 11" descr="Chart">
            <a:extLst>
              <a:ext uri="{FF2B5EF4-FFF2-40B4-BE49-F238E27FC236}">
                <a16:creationId xmlns:a16="http://schemas.microsoft.com/office/drawing/2014/main" id="{929A89A4-A764-4573-A43E-D883B54D579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63565607"/>
              </p:ext>
            </p:extLst>
          </p:nvPr>
        </p:nvGraphicFramePr>
        <p:xfrm>
          <a:off x="5197759" y="2053173"/>
          <a:ext cx="1481012" cy="11610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5" name="Content Placeholder 11" descr="Chart">
            <a:extLst>
              <a:ext uri="{FF2B5EF4-FFF2-40B4-BE49-F238E27FC236}">
                <a16:creationId xmlns:a16="http://schemas.microsoft.com/office/drawing/2014/main" id="{F8366091-405D-481E-B7F7-8B8F64FD1C8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016485"/>
              </p:ext>
            </p:extLst>
          </p:nvPr>
        </p:nvGraphicFramePr>
        <p:xfrm>
          <a:off x="8099591" y="2053173"/>
          <a:ext cx="1481012" cy="11610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6" name="object 21">
            <a:extLst>
              <a:ext uri="{FF2B5EF4-FFF2-40B4-BE49-F238E27FC236}">
                <a16:creationId xmlns:a16="http://schemas.microsoft.com/office/drawing/2014/main" id="{FDFE3336-0975-4022-813D-426DF2A2CDE3}"/>
              </a:ext>
            </a:extLst>
          </p:cNvPr>
          <p:cNvSpPr txBox="1"/>
          <p:nvPr/>
        </p:nvSpPr>
        <p:spPr>
          <a:xfrm>
            <a:off x="2040008" y="3194337"/>
            <a:ext cx="1344559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1200" dirty="0">
                <a:cs typeface="Segoe UI" panose="020B0502040204020203" pitchFamily="34" charset="0"/>
              </a:rPr>
              <a:t>Customer</a:t>
            </a:r>
            <a:r>
              <a:rPr lang="ru-RU" sz="1200" dirty="0">
                <a:cs typeface="Segoe UI" panose="020B0502040204020203" pitchFamily="34" charset="0"/>
              </a:rPr>
              <a:t> </a:t>
            </a:r>
            <a:r>
              <a:rPr lang="en-US" sz="1200" dirty="0"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17" name="object 22">
            <a:extLst>
              <a:ext uri="{FF2B5EF4-FFF2-40B4-BE49-F238E27FC236}">
                <a16:creationId xmlns:a16="http://schemas.microsoft.com/office/drawing/2014/main" id="{D0254F3B-D1FC-4502-9765-D274E419877A}"/>
              </a:ext>
            </a:extLst>
          </p:cNvPr>
          <p:cNvSpPr txBox="1"/>
          <p:nvPr/>
        </p:nvSpPr>
        <p:spPr>
          <a:xfrm>
            <a:off x="3474897" y="3194337"/>
            <a:ext cx="1336913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1200" dirty="0">
                <a:cs typeface="Segoe UI" panose="020B0502040204020203" pitchFamily="34" charset="0"/>
              </a:rPr>
              <a:t>Customer</a:t>
            </a:r>
            <a:r>
              <a:rPr lang="ru-RU" sz="1200" dirty="0">
                <a:cs typeface="Segoe UI" panose="020B0502040204020203" pitchFamily="34" charset="0"/>
              </a:rPr>
              <a:t> </a:t>
            </a:r>
            <a:r>
              <a:rPr lang="en-US" sz="1200" dirty="0"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18" name="object 23">
            <a:extLst>
              <a:ext uri="{FF2B5EF4-FFF2-40B4-BE49-F238E27FC236}">
                <a16:creationId xmlns:a16="http://schemas.microsoft.com/office/drawing/2014/main" id="{04B2FD88-02F5-4328-AB03-EB8EC1A481F7}"/>
              </a:ext>
            </a:extLst>
          </p:cNvPr>
          <p:cNvSpPr txBox="1"/>
          <p:nvPr/>
        </p:nvSpPr>
        <p:spPr>
          <a:xfrm>
            <a:off x="5467689" y="3194337"/>
            <a:ext cx="901243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1200" spc="-5" dirty="0">
                <a:cs typeface="Segoe UI" panose="020B0502040204020203" pitchFamily="34" charset="0"/>
              </a:rPr>
              <a:t>Customer 4</a:t>
            </a:r>
            <a:endParaRPr lang="en-US" sz="1200" dirty="0">
              <a:cs typeface="Segoe UI" panose="020B0502040204020203" pitchFamily="34" charset="0"/>
            </a:endParaRPr>
          </a:p>
        </p:txBody>
      </p:sp>
      <p:sp>
        <p:nvSpPr>
          <p:cNvPr id="19" name="object 24">
            <a:extLst>
              <a:ext uri="{FF2B5EF4-FFF2-40B4-BE49-F238E27FC236}">
                <a16:creationId xmlns:a16="http://schemas.microsoft.com/office/drawing/2014/main" id="{7A33CD89-F67A-4378-8AFD-C60011F6DBB4}"/>
              </a:ext>
            </a:extLst>
          </p:cNvPr>
          <p:cNvSpPr txBox="1"/>
          <p:nvPr/>
        </p:nvSpPr>
        <p:spPr>
          <a:xfrm>
            <a:off x="6974270" y="3194337"/>
            <a:ext cx="901241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1200" spc="-5" dirty="0">
                <a:cs typeface="Segoe UI" panose="020B0502040204020203" pitchFamily="34" charset="0"/>
              </a:rPr>
              <a:t>Customer 5</a:t>
            </a:r>
            <a:endParaRPr lang="en-US" sz="1200" dirty="0">
              <a:cs typeface="Segoe UI" panose="020B0502040204020203" pitchFamily="34" charset="0"/>
            </a:endParaRPr>
          </a:p>
        </p:txBody>
      </p:sp>
      <p:sp>
        <p:nvSpPr>
          <p:cNvPr id="20" name="object 20">
            <a:extLst>
              <a:ext uri="{FF2B5EF4-FFF2-40B4-BE49-F238E27FC236}">
                <a16:creationId xmlns:a16="http://schemas.microsoft.com/office/drawing/2014/main" id="{2306528A-EF2E-492E-846A-8645AF605E9C}"/>
              </a:ext>
            </a:extLst>
          </p:cNvPr>
          <p:cNvSpPr txBox="1"/>
          <p:nvPr/>
        </p:nvSpPr>
        <p:spPr>
          <a:xfrm>
            <a:off x="852235" y="2506665"/>
            <a:ext cx="908033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dirty="0">
                <a:latin typeface="+mj-lt"/>
                <a:cs typeface="Segoe UI" panose="020B0502040204020203" pitchFamily="34" charset="0"/>
              </a:rPr>
              <a:t>47%</a:t>
            </a:r>
          </a:p>
        </p:txBody>
      </p:sp>
      <p:sp>
        <p:nvSpPr>
          <p:cNvPr id="21" name="object 21">
            <a:extLst>
              <a:ext uri="{FF2B5EF4-FFF2-40B4-BE49-F238E27FC236}">
                <a16:creationId xmlns:a16="http://schemas.microsoft.com/office/drawing/2014/main" id="{2E9BBF33-FFEE-40F5-A249-CEA0DCAE3BE2}"/>
              </a:ext>
            </a:extLst>
          </p:cNvPr>
          <p:cNvSpPr txBox="1"/>
          <p:nvPr/>
        </p:nvSpPr>
        <p:spPr>
          <a:xfrm>
            <a:off x="2157505" y="2506665"/>
            <a:ext cx="1007276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pc="-5" dirty="0">
                <a:latin typeface="+mj-lt"/>
                <a:cs typeface="Segoe UI" panose="020B0502040204020203" pitchFamily="34" charset="0"/>
              </a:rPr>
              <a:t>21%</a:t>
            </a:r>
            <a:endParaRPr lang="en-US" dirty="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22" name="object 22">
            <a:extLst>
              <a:ext uri="{FF2B5EF4-FFF2-40B4-BE49-F238E27FC236}">
                <a16:creationId xmlns:a16="http://schemas.microsoft.com/office/drawing/2014/main" id="{891776FB-6173-49D8-9F32-944FBC4EABB1}"/>
              </a:ext>
            </a:extLst>
          </p:cNvPr>
          <p:cNvSpPr txBox="1"/>
          <p:nvPr/>
        </p:nvSpPr>
        <p:spPr>
          <a:xfrm>
            <a:off x="3777170" y="2506665"/>
            <a:ext cx="703609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dirty="0">
                <a:latin typeface="+mj-lt"/>
                <a:cs typeface="Segoe UI" panose="020B0502040204020203" pitchFamily="34" charset="0"/>
              </a:rPr>
              <a:t>17%</a:t>
            </a:r>
          </a:p>
        </p:txBody>
      </p:sp>
      <p:sp>
        <p:nvSpPr>
          <p:cNvPr id="23" name="object 23">
            <a:extLst>
              <a:ext uri="{FF2B5EF4-FFF2-40B4-BE49-F238E27FC236}">
                <a16:creationId xmlns:a16="http://schemas.microsoft.com/office/drawing/2014/main" id="{3689D36F-0E74-439C-8BF7-BE388B2B4545}"/>
              </a:ext>
            </a:extLst>
          </p:cNvPr>
          <p:cNvSpPr txBox="1"/>
          <p:nvPr/>
        </p:nvSpPr>
        <p:spPr>
          <a:xfrm>
            <a:off x="5485825" y="2506665"/>
            <a:ext cx="901247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pc="-5" dirty="0">
                <a:latin typeface="+mj-lt"/>
                <a:cs typeface="Segoe UI" panose="020B0502040204020203" pitchFamily="34" charset="0"/>
              </a:rPr>
              <a:t>37%</a:t>
            </a:r>
            <a:endParaRPr lang="en-US" dirty="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24" name="object 24">
            <a:extLst>
              <a:ext uri="{FF2B5EF4-FFF2-40B4-BE49-F238E27FC236}">
                <a16:creationId xmlns:a16="http://schemas.microsoft.com/office/drawing/2014/main" id="{9396CD8C-7E7D-4CBC-AFB3-A4424860B64E}"/>
              </a:ext>
            </a:extLst>
          </p:cNvPr>
          <p:cNvSpPr txBox="1"/>
          <p:nvPr/>
        </p:nvSpPr>
        <p:spPr>
          <a:xfrm>
            <a:off x="8476823" y="2506665"/>
            <a:ext cx="729903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pc="-5" dirty="0">
                <a:latin typeface="+mj-lt"/>
                <a:cs typeface="Segoe UI" panose="020B0502040204020203" pitchFamily="34" charset="0"/>
              </a:rPr>
              <a:t>45%</a:t>
            </a:r>
            <a:endParaRPr lang="en-US" dirty="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28" name="object 20">
            <a:extLst>
              <a:ext uri="{FF2B5EF4-FFF2-40B4-BE49-F238E27FC236}">
                <a16:creationId xmlns:a16="http://schemas.microsoft.com/office/drawing/2014/main" id="{B36D2764-7743-4684-BE95-4AE88B7DB06A}"/>
              </a:ext>
            </a:extLst>
          </p:cNvPr>
          <p:cNvSpPr txBox="1"/>
          <p:nvPr/>
        </p:nvSpPr>
        <p:spPr>
          <a:xfrm>
            <a:off x="852235" y="3194337"/>
            <a:ext cx="90803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1200" dirty="0">
                <a:cs typeface="Segoe UI" panose="020B0502040204020203" pitchFamily="34" charset="0"/>
              </a:rPr>
              <a:t>Customer 1</a:t>
            </a:r>
          </a:p>
        </p:txBody>
      </p:sp>
      <p:graphicFrame>
        <p:nvGraphicFramePr>
          <p:cNvPr id="33" name="Content Placeholder 11" descr="Chart">
            <a:extLst>
              <a:ext uri="{FF2B5EF4-FFF2-40B4-BE49-F238E27FC236}">
                <a16:creationId xmlns:a16="http://schemas.microsoft.com/office/drawing/2014/main" id="{EE3F9CC5-DBA6-45F8-BEB5-9AABA54A807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05427279"/>
              </p:ext>
            </p:extLst>
          </p:nvPr>
        </p:nvGraphicFramePr>
        <p:xfrm>
          <a:off x="9550508" y="2053173"/>
          <a:ext cx="1481012" cy="11610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4" name="object 22">
            <a:extLst>
              <a:ext uri="{FF2B5EF4-FFF2-40B4-BE49-F238E27FC236}">
                <a16:creationId xmlns:a16="http://schemas.microsoft.com/office/drawing/2014/main" id="{920F091D-CD6E-4913-9674-EB69EC3CF30D}"/>
              </a:ext>
            </a:extLst>
          </p:cNvPr>
          <p:cNvSpPr txBox="1"/>
          <p:nvPr/>
        </p:nvSpPr>
        <p:spPr>
          <a:xfrm>
            <a:off x="8405656" y="3194337"/>
            <a:ext cx="901242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1200" dirty="0">
                <a:cs typeface="Segoe UI" panose="020B0502040204020203" pitchFamily="34" charset="0"/>
              </a:rPr>
              <a:t>Customer 6</a:t>
            </a:r>
          </a:p>
        </p:txBody>
      </p:sp>
      <p:sp>
        <p:nvSpPr>
          <p:cNvPr id="35" name="object 23">
            <a:extLst>
              <a:ext uri="{FF2B5EF4-FFF2-40B4-BE49-F238E27FC236}">
                <a16:creationId xmlns:a16="http://schemas.microsoft.com/office/drawing/2014/main" id="{43B84908-3B8B-4F2C-919C-2334EC97AF43}"/>
              </a:ext>
            </a:extLst>
          </p:cNvPr>
          <p:cNvSpPr txBox="1"/>
          <p:nvPr/>
        </p:nvSpPr>
        <p:spPr>
          <a:xfrm>
            <a:off x="9846008" y="3194337"/>
            <a:ext cx="901243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1200" spc="-5" dirty="0">
                <a:cs typeface="Segoe UI" panose="020B0502040204020203" pitchFamily="34" charset="0"/>
              </a:rPr>
              <a:t>Customer 7</a:t>
            </a:r>
            <a:endParaRPr lang="en-US" sz="1200" dirty="0">
              <a:cs typeface="Segoe UI" panose="020B0502040204020203" pitchFamily="34" charset="0"/>
            </a:endParaRPr>
          </a:p>
        </p:txBody>
      </p:sp>
      <p:sp>
        <p:nvSpPr>
          <p:cNvPr id="36" name="object 22">
            <a:extLst>
              <a:ext uri="{FF2B5EF4-FFF2-40B4-BE49-F238E27FC236}">
                <a16:creationId xmlns:a16="http://schemas.microsoft.com/office/drawing/2014/main" id="{3E0CD13B-E1C5-4B1E-8D6F-830B20EB1901}"/>
              </a:ext>
            </a:extLst>
          </p:cNvPr>
          <p:cNvSpPr txBox="1"/>
          <p:nvPr/>
        </p:nvSpPr>
        <p:spPr>
          <a:xfrm>
            <a:off x="7039802" y="2506665"/>
            <a:ext cx="703609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dirty="0">
                <a:latin typeface="+mj-lt"/>
                <a:cs typeface="Segoe UI" panose="020B0502040204020203" pitchFamily="34" charset="0"/>
              </a:rPr>
              <a:t>17%</a:t>
            </a:r>
          </a:p>
        </p:txBody>
      </p:sp>
      <p:sp>
        <p:nvSpPr>
          <p:cNvPr id="37" name="object 23">
            <a:extLst>
              <a:ext uri="{FF2B5EF4-FFF2-40B4-BE49-F238E27FC236}">
                <a16:creationId xmlns:a16="http://schemas.microsoft.com/office/drawing/2014/main" id="{67128195-4722-4370-9902-03BB1E8A9491}"/>
              </a:ext>
            </a:extLst>
          </p:cNvPr>
          <p:cNvSpPr txBox="1"/>
          <p:nvPr/>
        </p:nvSpPr>
        <p:spPr>
          <a:xfrm>
            <a:off x="9846008" y="2506665"/>
            <a:ext cx="901247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pc="-5" dirty="0">
                <a:latin typeface="+mj-lt"/>
                <a:cs typeface="Segoe UI" panose="020B0502040204020203" pitchFamily="34" charset="0"/>
              </a:rPr>
              <a:t>37%</a:t>
            </a:r>
            <a:endParaRPr lang="en-US" dirty="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3AAF2546-6871-494C-A126-C625BBE3261B}"/>
              </a:ext>
            </a:extLst>
          </p:cNvPr>
          <p:cNvSpPr txBox="1">
            <a:spLocks/>
          </p:cNvSpPr>
          <p:nvPr/>
        </p:nvSpPr>
        <p:spPr>
          <a:xfrm>
            <a:off x="819621" y="1743197"/>
            <a:ext cx="3789362" cy="345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>
                <a:solidFill>
                  <a:schemeClr val="tx1"/>
                </a:solidFill>
              </a:rPr>
              <a:t>Lorem ipsum dolor 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80184BDF-DE58-4622-9C1E-1F326A76743E}"/>
              </a:ext>
            </a:extLst>
          </p:cNvPr>
          <p:cNvSpPr txBox="1">
            <a:spLocks/>
          </p:cNvSpPr>
          <p:nvPr/>
        </p:nvSpPr>
        <p:spPr>
          <a:xfrm>
            <a:off x="5471151" y="1743197"/>
            <a:ext cx="5233361" cy="345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>
                <a:solidFill>
                  <a:schemeClr val="tx1"/>
                </a:solidFill>
              </a:rPr>
              <a:t>Lorem ipsum dolor </a:t>
            </a:r>
          </a:p>
        </p:txBody>
      </p:sp>
      <p:cxnSp>
        <p:nvCxnSpPr>
          <p:cNvPr id="6" name="Straight Connector 5" descr="Line">
            <a:extLst>
              <a:ext uri="{FF2B5EF4-FFF2-40B4-BE49-F238E27FC236}">
                <a16:creationId xmlns:a16="http://schemas.microsoft.com/office/drawing/2014/main" id="{5C0E71B8-1D2B-4965-B2E2-9D9AD54201BD}"/>
              </a:ext>
            </a:extLst>
          </p:cNvPr>
          <p:cNvCxnSpPr>
            <a:cxnSpLocks/>
          </p:cNvCxnSpPr>
          <p:nvPr/>
        </p:nvCxnSpPr>
        <p:spPr>
          <a:xfrm>
            <a:off x="5035890" y="1844675"/>
            <a:ext cx="0" cy="1763713"/>
          </a:xfrm>
          <a:prstGeom prst="line">
            <a:avLst/>
          </a:prstGeom>
          <a:ln w="3175">
            <a:solidFill>
              <a:schemeClr val="bg2">
                <a:lumMod val="20000"/>
                <a:lumOff val="80000"/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447043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2B1475-FC88-E0C7-B8CF-A3A6872BD3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898525"/>
          </a:xfrm>
        </p:spPr>
        <p:txBody>
          <a:bodyPr/>
          <a:lstStyle/>
          <a:p>
            <a:r>
              <a:rPr lang="en-US" sz="3200" noProof="0" dirty="0"/>
              <a:t>Click to edit Master title style</a:t>
            </a:r>
            <a:endParaRPr lang="ru-RU" sz="32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4CE924-77ED-1450-D721-1B39EB3282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605051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FDBC7CCD-667E-C0A5-86B8-31D141B643C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51586314"/>
              </p:ext>
            </p:extLst>
          </p:nvPr>
        </p:nvGraphicFramePr>
        <p:xfrm>
          <a:off x="29147" y="2121327"/>
          <a:ext cx="3842651" cy="26153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58F1EBF5-3C56-8FA6-0F94-023F9BB8A1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70895317"/>
              </p:ext>
            </p:extLst>
          </p:nvPr>
        </p:nvGraphicFramePr>
        <p:xfrm>
          <a:off x="2818254" y="2121327"/>
          <a:ext cx="3842651" cy="26153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193959BB-C4FE-2B7C-999D-BBEE84E919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47708815"/>
              </p:ext>
            </p:extLst>
          </p:nvPr>
        </p:nvGraphicFramePr>
        <p:xfrm>
          <a:off x="5563540" y="2121327"/>
          <a:ext cx="3842651" cy="26153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7C43ED25-7799-FA97-E77C-18D7A19A4DF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9762249"/>
              </p:ext>
            </p:extLst>
          </p:nvPr>
        </p:nvGraphicFramePr>
        <p:xfrm>
          <a:off x="8435122" y="2121327"/>
          <a:ext cx="3842651" cy="26153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object 10"/>
          <p:cNvSpPr txBox="1"/>
          <p:nvPr/>
        </p:nvSpPr>
        <p:spPr>
          <a:xfrm>
            <a:off x="1453862" y="3103463"/>
            <a:ext cx="1021191" cy="623329"/>
          </a:xfrm>
          <a:prstGeom prst="rect">
            <a:avLst/>
          </a:prstGeom>
        </p:spPr>
        <p:txBody>
          <a:bodyPr vert="horz" wrap="square" lIns="0" tIns="7701" rIns="0" bIns="0" rtlCol="0">
            <a:spAutoFit/>
          </a:bodyPr>
          <a:lstStyle/>
          <a:p>
            <a:pPr marL="7701" algn="ctr" defTabSz="554492">
              <a:spcBef>
                <a:spcPts val="61"/>
              </a:spcBef>
            </a:pPr>
            <a:r>
              <a:rPr sz="4000" dirty="0">
                <a:solidFill>
                  <a:schemeClr val="accent1"/>
                </a:solidFill>
                <a:cs typeface="Bebas Neue"/>
              </a:rPr>
              <a:t>71%</a:t>
            </a:r>
          </a:p>
        </p:txBody>
      </p:sp>
      <p:sp>
        <p:nvSpPr>
          <p:cNvPr id="11" name="object 11"/>
          <p:cNvSpPr txBox="1"/>
          <p:nvPr/>
        </p:nvSpPr>
        <p:spPr>
          <a:xfrm>
            <a:off x="4228985" y="3103463"/>
            <a:ext cx="1021191" cy="623329"/>
          </a:xfrm>
          <a:prstGeom prst="rect">
            <a:avLst/>
          </a:prstGeom>
        </p:spPr>
        <p:txBody>
          <a:bodyPr vert="horz" wrap="square" lIns="0" tIns="7701" rIns="0" bIns="0" rtlCol="0">
            <a:spAutoFit/>
          </a:bodyPr>
          <a:lstStyle/>
          <a:p>
            <a:pPr marL="7701" algn="ctr" defTabSz="554492">
              <a:spcBef>
                <a:spcPts val="61"/>
              </a:spcBef>
            </a:pPr>
            <a:r>
              <a:rPr sz="4000" dirty="0">
                <a:solidFill>
                  <a:schemeClr val="accent1"/>
                </a:solidFill>
                <a:cs typeface="Bebas Neue"/>
              </a:rPr>
              <a:t>43%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6974271" y="3103463"/>
            <a:ext cx="1021191" cy="623329"/>
          </a:xfrm>
          <a:prstGeom prst="rect">
            <a:avLst/>
          </a:prstGeom>
        </p:spPr>
        <p:txBody>
          <a:bodyPr vert="horz" wrap="square" lIns="0" tIns="7701" rIns="0" bIns="0" rtlCol="0">
            <a:spAutoFit/>
          </a:bodyPr>
          <a:lstStyle/>
          <a:p>
            <a:pPr marL="7701" algn="ctr" defTabSz="554492">
              <a:spcBef>
                <a:spcPts val="61"/>
              </a:spcBef>
            </a:pPr>
            <a:r>
              <a:rPr sz="4000" dirty="0">
                <a:solidFill>
                  <a:schemeClr val="accent1"/>
                </a:solidFill>
                <a:cs typeface="Bebas Neue"/>
              </a:rPr>
              <a:t>80%</a:t>
            </a:r>
          </a:p>
        </p:txBody>
      </p:sp>
      <p:sp>
        <p:nvSpPr>
          <p:cNvPr id="13" name="object 13"/>
          <p:cNvSpPr txBox="1"/>
          <p:nvPr/>
        </p:nvSpPr>
        <p:spPr>
          <a:xfrm>
            <a:off x="9845853" y="3103463"/>
            <a:ext cx="1021191" cy="623329"/>
          </a:xfrm>
          <a:prstGeom prst="rect">
            <a:avLst/>
          </a:prstGeom>
        </p:spPr>
        <p:txBody>
          <a:bodyPr vert="horz" wrap="square" lIns="0" tIns="7701" rIns="0" bIns="0" rtlCol="0">
            <a:spAutoFit/>
          </a:bodyPr>
          <a:lstStyle/>
          <a:p>
            <a:pPr marL="7701" algn="ctr" defTabSz="554492">
              <a:spcBef>
                <a:spcPts val="61"/>
              </a:spcBef>
            </a:pPr>
            <a:r>
              <a:rPr sz="4000" dirty="0">
                <a:solidFill>
                  <a:schemeClr val="accent1"/>
                </a:solidFill>
                <a:cs typeface="Bebas Neue"/>
              </a:rPr>
              <a:t>57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71CB27-F9C9-3F01-9DC1-F6ACDF32D3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898525"/>
          </a:xfrm>
        </p:spPr>
        <p:txBody>
          <a:bodyPr/>
          <a:lstStyle/>
          <a:p>
            <a:endParaRPr lang="ru-RU"/>
          </a:p>
        </p:txBody>
      </p:sp>
      <p:sp>
        <p:nvSpPr>
          <p:cNvPr id="15" name="object 15"/>
          <p:cNvSpPr txBox="1"/>
          <p:nvPr/>
        </p:nvSpPr>
        <p:spPr>
          <a:xfrm>
            <a:off x="819376" y="5126295"/>
            <a:ext cx="2219897" cy="754401"/>
          </a:xfrm>
          <a:prstGeom prst="rect">
            <a:avLst/>
          </a:prstGeom>
        </p:spPr>
        <p:txBody>
          <a:bodyPr vert="horz" wrap="square" lIns="0" tIns="92801" rIns="0" bIns="0" rtlCol="0">
            <a:spAutoFit/>
          </a:bodyPr>
          <a:lstStyle/>
          <a:p>
            <a:pPr marL="770" marR="0" lvl="0" indent="0" algn="ctr" defTabSz="554492" rtl="0" eaLnBrk="1" fontAlgn="auto" latinLnBrk="0" hangingPunct="1">
              <a:lnSpc>
                <a:spcPct val="90000"/>
              </a:lnSpc>
              <a:spcBef>
                <a:spcPts val="73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Bebas Neue"/>
              </a:rPr>
              <a:t>Molor</a:t>
            </a:r>
            <a:r>
              <a:rPr kumimoji="0" lang="en-US" sz="1400" b="0" i="0" u="none" strike="noStrike" kern="1200" cap="none" spc="-9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Bebas Neue"/>
              </a:rPr>
              <a:t> </a:t>
            </a:r>
            <a:r>
              <a:rPr kumimoji="0" lang="en-US" sz="1400" b="0" i="0" u="none" strike="noStrike" kern="1200" cap="none" spc="-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Bebas Neue"/>
              </a:rPr>
              <a:t>aborporepta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D3174"/>
              </a:solidFill>
              <a:effectLst/>
              <a:uLnTx/>
              <a:uFillTx/>
              <a:latin typeface="Segoe UI"/>
              <a:ea typeface="+mn-ea"/>
              <a:cs typeface="Bebas Neue"/>
            </a:endParaRPr>
          </a:p>
          <a:p>
            <a:pPr marL="385" marR="0" lvl="0" indent="0" algn="ctr" defTabSz="554492" rtl="0" eaLnBrk="1" fontAlgn="auto" latinLnBrk="0" hangingPunct="1">
              <a:lnSpc>
                <a:spcPct val="90000"/>
              </a:lnSpc>
              <a:spcBef>
                <a:spcPts val="3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Iquisquam</a:t>
            </a:r>
            <a:r>
              <a:rPr kumimoji="0" lang="en-US" sz="1000" b="0" i="0" u="none" strike="noStrike" kern="1200" cap="none" spc="-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 </a:t>
            </a:r>
            <a:r>
              <a:rPr kumimoji="0" lang="en-US" sz="1000" b="0" i="0" u="none" strike="noStrike" kern="1200" cap="none" spc="-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doloriaera</a:t>
            </a:r>
            <a:br>
              <a:rPr kumimoji="0" lang="en-US" sz="1000" b="0" i="0" u="none" strike="noStrike" kern="1200" cap="none" spc="-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</a:br>
            <a:r>
              <a:rPr kumimoji="0" lang="en-US" sz="1000" b="0" i="0" u="none" strike="noStrike" kern="1200" cap="none" spc="-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Lorem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ipse </a:t>
            </a:r>
            <a:r>
              <a:rPr kumimoji="0" lang="en-US" sz="1000" b="0" i="0" u="none" strike="noStrike" kern="1200" cap="none" spc="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nimus</a:t>
            </a:r>
            <a:r>
              <a:rPr kumimoji="0" lang="en-US" sz="1000" b="0" i="0" u="none" strike="noStrike" kern="1200" cap="none" spc="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, </a:t>
            </a:r>
            <a:r>
              <a:rPr kumimoji="0" lang="en-US" sz="1000" b="0" i="0" u="none" strike="noStrike" kern="1200" cap="none" spc="-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consultorite</a:t>
            </a:r>
            <a:r>
              <a:rPr kumimoji="0" lang="en-US" sz="1000" b="0" i="0" u="none" strike="noStrike" kern="1200" cap="none" spc="-36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 </a:t>
            </a:r>
            <a:r>
              <a:rPr kumimoji="0" lang="en-US" sz="1000" b="0" i="0" u="none" strike="noStrike" kern="1200" cap="none" spc="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m 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int </a:t>
            </a:r>
            <a:r>
              <a:rPr kumimoji="0" lang="en-US" sz="1000" b="0" i="0" u="none" strike="noStrike" kern="1200" cap="none" spc="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ec</a:t>
            </a:r>
            <a:r>
              <a:rPr kumimoji="0" lang="en-US" sz="1000" b="0" i="0" u="none" strike="noStrike" kern="1200" cap="none" spc="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 neo </a:t>
            </a:r>
            <a:r>
              <a:rPr kumimoji="0" lang="en-US" sz="1000" b="0" i="0" u="none" strike="noStrike" kern="1200" cap="none" spc="-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lore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vi </a:t>
            </a:r>
            <a:r>
              <a:rPr kumimoji="0" lang="en-US" sz="1000" b="0" i="0" u="none" strike="noStrike" kern="1200" cap="none" spc="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me</a:t>
            </a:r>
            <a:r>
              <a:rPr kumimoji="0" lang="en-US" sz="1000" b="0" i="0" u="none" strike="noStrike" kern="1200" cap="none" spc="-15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vouid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.</a:t>
            </a:r>
          </a:p>
        </p:txBody>
      </p:sp>
      <p:sp>
        <p:nvSpPr>
          <p:cNvPr id="16" name="object 16"/>
          <p:cNvSpPr txBox="1"/>
          <p:nvPr/>
        </p:nvSpPr>
        <p:spPr>
          <a:xfrm>
            <a:off x="3597148" y="5126295"/>
            <a:ext cx="2219897" cy="754401"/>
          </a:xfrm>
          <a:prstGeom prst="rect">
            <a:avLst/>
          </a:prstGeom>
        </p:spPr>
        <p:txBody>
          <a:bodyPr vert="horz" wrap="square" lIns="0" tIns="92801" rIns="0" bIns="0" rtlCol="0">
            <a:spAutoFit/>
          </a:bodyPr>
          <a:lstStyle/>
          <a:p>
            <a:pPr marL="770" marR="0" lvl="0" indent="0" algn="ctr" defTabSz="554492" rtl="0" eaLnBrk="1" fontAlgn="auto" latinLnBrk="0" hangingPunct="1">
              <a:lnSpc>
                <a:spcPct val="90000"/>
              </a:lnSpc>
              <a:spcBef>
                <a:spcPts val="73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Bebas Neue"/>
              </a:rPr>
              <a:t>Molor</a:t>
            </a:r>
            <a:r>
              <a:rPr kumimoji="0" lang="en-US" sz="1400" b="0" i="0" u="none" strike="noStrike" kern="1200" cap="none" spc="-9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Bebas Neue"/>
              </a:rPr>
              <a:t> </a:t>
            </a:r>
            <a:r>
              <a:rPr kumimoji="0" lang="en-US" sz="1400" b="0" i="0" u="none" strike="noStrike" kern="1200" cap="none" spc="-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Bebas Neue"/>
              </a:rPr>
              <a:t>aborporepta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D3174"/>
              </a:solidFill>
              <a:effectLst/>
              <a:uLnTx/>
              <a:uFillTx/>
              <a:latin typeface="Segoe UI"/>
              <a:ea typeface="+mn-ea"/>
              <a:cs typeface="Bebas Neue"/>
            </a:endParaRPr>
          </a:p>
          <a:p>
            <a:pPr marL="385" marR="0" lvl="0" indent="0" algn="ctr" defTabSz="554492" rtl="0" eaLnBrk="1" fontAlgn="auto" latinLnBrk="0" hangingPunct="1">
              <a:lnSpc>
                <a:spcPct val="90000"/>
              </a:lnSpc>
              <a:spcBef>
                <a:spcPts val="3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Iquisquam</a:t>
            </a:r>
            <a:r>
              <a:rPr kumimoji="0" lang="en-US" sz="1000" b="0" i="0" u="none" strike="noStrike" kern="1200" cap="none" spc="-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 </a:t>
            </a:r>
            <a:r>
              <a:rPr kumimoji="0" lang="en-US" sz="1000" b="0" i="0" u="none" strike="noStrike" kern="1200" cap="none" spc="-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doloriaera</a:t>
            </a:r>
            <a:br>
              <a:rPr kumimoji="0" lang="en-US" sz="1000" b="0" i="0" u="none" strike="noStrike" kern="1200" cap="none" spc="-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</a:br>
            <a:r>
              <a:rPr kumimoji="0" lang="en-US" sz="1000" b="0" i="0" u="none" strike="noStrike" kern="1200" cap="none" spc="-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Lorem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ipse </a:t>
            </a:r>
            <a:r>
              <a:rPr kumimoji="0" lang="en-US" sz="1000" b="0" i="0" u="none" strike="noStrike" kern="1200" cap="none" spc="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nimus</a:t>
            </a:r>
            <a:r>
              <a:rPr kumimoji="0" lang="en-US" sz="1000" b="0" i="0" u="none" strike="noStrike" kern="1200" cap="none" spc="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, </a:t>
            </a:r>
            <a:r>
              <a:rPr kumimoji="0" lang="en-US" sz="1000" b="0" i="0" u="none" strike="noStrike" kern="1200" cap="none" spc="-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consultorite</a:t>
            </a:r>
            <a:r>
              <a:rPr kumimoji="0" lang="en-US" sz="1000" b="0" i="0" u="none" strike="noStrike" kern="1200" cap="none" spc="-36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 </a:t>
            </a:r>
            <a:r>
              <a:rPr kumimoji="0" lang="en-US" sz="1000" b="0" i="0" u="none" strike="noStrike" kern="1200" cap="none" spc="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m 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int </a:t>
            </a:r>
            <a:r>
              <a:rPr kumimoji="0" lang="en-US" sz="1000" b="0" i="0" u="none" strike="noStrike" kern="1200" cap="none" spc="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ec</a:t>
            </a:r>
            <a:r>
              <a:rPr kumimoji="0" lang="en-US" sz="1000" b="0" i="0" u="none" strike="noStrike" kern="1200" cap="none" spc="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 neo </a:t>
            </a:r>
            <a:r>
              <a:rPr kumimoji="0" lang="en-US" sz="1000" b="0" i="0" u="none" strike="noStrike" kern="1200" cap="none" spc="-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lore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vi </a:t>
            </a:r>
            <a:r>
              <a:rPr kumimoji="0" lang="en-US" sz="1000" b="0" i="0" u="none" strike="noStrike" kern="1200" cap="none" spc="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me</a:t>
            </a:r>
            <a:r>
              <a:rPr kumimoji="0" lang="en-US" sz="1000" b="0" i="0" u="none" strike="noStrike" kern="1200" cap="none" spc="-15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vouid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.</a:t>
            </a:r>
          </a:p>
        </p:txBody>
      </p:sp>
      <p:sp>
        <p:nvSpPr>
          <p:cNvPr id="17" name="object 17"/>
          <p:cNvSpPr txBox="1"/>
          <p:nvPr/>
        </p:nvSpPr>
        <p:spPr>
          <a:xfrm>
            <a:off x="6374919" y="5126295"/>
            <a:ext cx="2219897" cy="754401"/>
          </a:xfrm>
          <a:prstGeom prst="rect">
            <a:avLst/>
          </a:prstGeom>
        </p:spPr>
        <p:txBody>
          <a:bodyPr vert="horz" wrap="square" lIns="0" tIns="92801" rIns="0" bIns="0" rtlCol="0">
            <a:spAutoFit/>
          </a:bodyPr>
          <a:lstStyle/>
          <a:p>
            <a:pPr marL="770" marR="0" lvl="0" indent="0" algn="ctr" defTabSz="554492" rtl="0" eaLnBrk="1" fontAlgn="auto" latinLnBrk="0" hangingPunct="1">
              <a:lnSpc>
                <a:spcPct val="90000"/>
              </a:lnSpc>
              <a:spcBef>
                <a:spcPts val="73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Bebas Neue"/>
              </a:rPr>
              <a:t>Molor</a:t>
            </a:r>
            <a:r>
              <a:rPr kumimoji="0" lang="en-US" sz="1400" b="0" i="0" u="none" strike="noStrike" kern="1200" cap="none" spc="-9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Bebas Neue"/>
              </a:rPr>
              <a:t> </a:t>
            </a:r>
            <a:r>
              <a:rPr kumimoji="0" lang="en-US" sz="1400" b="0" i="0" u="none" strike="noStrike" kern="1200" cap="none" spc="-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Bebas Neue"/>
              </a:rPr>
              <a:t>aborporepta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D3174"/>
              </a:solidFill>
              <a:effectLst/>
              <a:uLnTx/>
              <a:uFillTx/>
              <a:latin typeface="Segoe UI"/>
              <a:ea typeface="+mn-ea"/>
              <a:cs typeface="Bebas Neue"/>
            </a:endParaRPr>
          </a:p>
          <a:p>
            <a:pPr marL="385" marR="0" lvl="0" indent="0" algn="ctr" defTabSz="554492" rtl="0" eaLnBrk="1" fontAlgn="auto" latinLnBrk="0" hangingPunct="1">
              <a:lnSpc>
                <a:spcPct val="90000"/>
              </a:lnSpc>
              <a:spcBef>
                <a:spcPts val="38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Iquisquam</a:t>
            </a:r>
            <a:r>
              <a:rPr kumimoji="0" lang="en-US" sz="1000" b="0" i="0" u="none" strike="noStrike" kern="1200" cap="none" spc="-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 </a:t>
            </a:r>
            <a:r>
              <a:rPr kumimoji="0" lang="en-US" sz="1000" b="0" i="0" u="none" strike="noStrike" kern="1200" cap="none" spc="-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doloriaera</a:t>
            </a:r>
            <a:br>
              <a:rPr kumimoji="0" lang="en-US" sz="1000" b="0" i="0" u="none" strike="noStrike" kern="1200" cap="none" spc="-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</a:br>
            <a:r>
              <a:rPr kumimoji="0" lang="en-US" sz="1000" b="0" i="0" u="none" strike="noStrike" kern="1200" cap="none" spc="-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Lorem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ipse </a:t>
            </a:r>
            <a:r>
              <a:rPr kumimoji="0" lang="en-US" sz="1000" b="0" i="0" u="none" strike="noStrike" kern="1200" cap="none" spc="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nimus</a:t>
            </a:r>
            <a:r>
              <a:rPr kumimoji="0" lang="en-US" sz="1000" b="0" i="0" u="none" strike="noStrike" kern="1200" cap="none" spc="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, </a:t>
            </a:r>
            <a:r>
              <a:rPr kumimoji="0" lang="en-US" sz="1000" b="0" i="0" u="none" strike="noStrike" kern="1200" cap="none" spc="-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consultorite</a:t>
            </a:r>
            <a:r>
              <a:rPr kumimoji="0" lang="en-US" sz="1000" b="0" i="0" u="none" strike="noStrike" kern="1200" cap="none" spc="-36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 </a:t>
            </a:r>
            <a:r>
              <a:rPr kumimoji="0" lang="en-US" sz="1000" b="0" i="0" u="none" strike="noStrike" kern="1200" cap="none" spc="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m 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int </a:t>
            </a:r>
            <a:r>
              <a:rPr kumimoji="0" lang="en-US" sz="1000" b="0" i="0" u="none" strike="noStrike" kern="1200" cap="none" spc="3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ec</a:t>
            </a:r>
            <a:r>
              <a:rPr kumimoji="0" lang="en-US" sz="1000" b="0" i="0" u="none" strike="noStrike" kern="1200" cap="none" spc="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 neo </a:t>
            </a:r>
            <a:r>
              <a:rPr kumimoji="0" lang="en-US" sz="1000" b="0" i="0" u="none" strike="noStrike" kern="1200" cap="none" spc="-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lore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vi </a:t>
            </a:r>
            <a:r>
              <a:rPr kumimoji="0" lang="en-US" sz="1000" b="0" i="0" u="none" strike="noStrike" kern="1200" cap="none" spc="3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me</a:t>
            </a:r>
            <a:r>
              <a:rPr kumimoji="0" lang="en-US" sz="1000" b="0" i="0" u="none" strike="noStrike" kern="1200" cap="none" spc="-15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vouid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D3174"/>
                </a:solidFill>
                <a:effectLst/>
                <a:uLnTx/>
                <a:uFillTx/>
                <a:latin typeface="Segoe UI"/>
                <a:ea typeface="+mn-ea"/>
                <a:cs typeface="Source Sans Pro"/>
              </a:rPr>
              <a:t>.</a:t>
            </a:r>
          </a:p>
        </p:txBody>
      </p:sp>
      <p:sp>
        <p:nvSpPr>
          <p:cNvPr id="18" name="object 18"/>
          <p:cNvSpPr txBox="1"/>
          <p:nvPr/>
        </p:nvSpPr>
        <p:spPr>
          <a:xfrm>
            <a:off x="9152690" y="5126295"/>
            <a:ext cx="2219897" cy="754401"/>
          </a:xfrm>
          <a:prstGeom prst="rect">
            <a:avLst/>
          </a:prstGeom>
        </p:spPr>
        <p:txBody>
          <a:bodyPr vert="horz" wrap="square" lIns="0" tIns="92801" rIns="0" bIns="0" rtlCol="0">
            <a:spAutoFit/>
          </a:bodyPr>
          <a:lstStyle/>
          <a:p>
            <a:pPr marL="770" algn="ctr" defTabSz="554492">
              <a:lnSpc>
                <a:spcPct val="90000"/>
              </a:lnSpc>
              <a:spcBef>
                <a:spcPts val="731"/>
              </a:spcBef>
            </a:pPr>
            <a:r>
              <a:rPr sz="1400" spc="3" dirty="0">
                <a:solidFill>
                  <a:schemeClr val="bg1"/>
                </a:solidFill>
                <a:cs typeface="Bebas Neue"/>
              </a:rPr>
              <a:t>Molor</a:t>
            </a:r>
            <a:r>
              <a:rPr sz="1400" spc="-9" dirty="0">
                <a:solidFill>
                  <a:schemeClr val="bg1"/>
                </a:solidFill>
                <a:cs typeface="Bebas Neue"/>
              </a:rPr>
              <a:t> </a:t>
            </a:r>
            <a:r>
              <a:rPr sz="1400" spc="-3" dirty="0">
                <a:solidFill>
                  <a:schemeClr val="bg1"/>
                </a:solidFill>
                <a:cs typeface="Bebas Neue"/>
              </a:rPr>
              <a:t>aborporepta</a:t>
            </a:r>
            <a:endParaRPr sz="1400" dirty="0">
              <a:solidFill>
                <a:schemeClr val="bg1"/>
              </a:solidFill>
              <a:cs typeface="Bebas Neue"/>
            </a:endParaRPr>
          </a:p>
          <a:p>
            <a:pPr marL="385" algn="ctr" defTabSz="554492">
              <a:lnSpc>
                <a:spcPct val="90000"/>
              </a:lnSpc>
              <a:spcBef>
                <a:spcPts val="382"/>
              </a:spcBef>
            </a:pPr>
            <a:r>
              <a:rPr sz="1000" spc="3" dirty="0" err="1">
                <a:solidFill>
                  <a:schemeClr val="bg1"/>
                </a:solidFill>
                <a:cs typeface="Source Sans Pro"/>
              </a:rPr>
              <a:t>Iquisquam</a:t>
            </a:r>
            <a:r>
              <a:rPr sz="1000" spc="-3" dirty="0">
                <a:solidFill>
                  <a:schemeClr val="bg1"/>
                </a:solidFill>
                <a:cs typeface="Source Sans Pro"/>
              </a:rPr>
              <a:t> </a:t>
            </a:r>
            <a:r>
              <a:rPr sz="1000" spc="-3" dirty="0" err="1">
                <a:solidFill>
                  <a:schemeClr val="bg1"/>
                </a:solidFill>
                <a:cs typeface="Source Sans Pro"/>
              </a:rPr>
              <a:t>doloriaera</a:t>
            </a:r>
            <a:br>
              <a:rPr lang="en-US" sz="1000" spc="-3" dirty="0">
                <a:solidFill>
                  <a:schemeClr val="bg1"/>
                </a:solidFill>
                <a:cs typeface="Source Sans Pro"/>
              </a:rPr>
            </a:br>
            <a:r>
              <a:rPr sz="1000" spc="-3" dirty="0">
                <a:solidFill>
                  <a:schemeClr val="bg1"/>
                </a:solidFill>
                <a:cs typeface="Source Sans Pro"/>
              </a:rPr>
              <a:t>Lorem </a:t>
            </a:r>
            <a:r>
              <a:rPr sz="1000" dirty="0">
                <a:solidFill>
                  <a:schemeClr val="bg1"/>
                </a:solidFill>
                <a:cs typeface="Source Sans Pro"/>
              </a:rPr>
              <a:t>ipse </a:t>
            </a:r>
            <a:r>
              <a:rPr sz="1000" spc="3" dirty="0">
                <a:solidFill>
                  <a:schemeClr val="bg1"/>
                </a:solidFill>
                <a:cs typeface="Source Sans Pro"/>
              </a:rPr>
              <a:t>nimus, </a:t>
            </a:r>
            <a:r>
              <a:rPr sz="1000" spc="-3" dirty="0">
                <a:solidFill>
                  <a:schemeClr val="bg1"/>
                </a:solidFill>
                <a:cs typeface="Source Sans Pro"/>
              </a:rPr>
              <a:t>consultorite</a:t>
            </a:r>
            <a:r>
              <a:rPr sz="1000" spc="-36" dirty="0">
                <a:solidFill>
                  <a:schemeClr val="bg1"/>
                </a:solidFill>
                <a:cs typeface="Source Sans Pro"/>
              </a:rPr>
              <a:t> </a:t>
            </a:r>
            <a:r>
              <a:rPr sz="1000" spc="3" dirty="0">
                <a:solidFill>
                  <a:schemeClr val="bg1"/>
                </a:solidFill>
                <a:cs typeface="Source Sans Pro"/>
              </a:rPr>
              <a:t>m  </a:t>
            </a:r>
            <a:r>
              <a:rPr sz="1000" dirty="0">
                <a:solidFill>
                  <a:schemeClr val="bg1"/>
                </a:solidFill>
                <a:cs typeface="Source Sans Pro"/>
              </a:rPr>
              <a:t>int </a:t>
            </a:r>
            <a:r>
              <a:rPr sz="1000" spc="3" dirty="0">
                <a:solidFill>
                  <a:schemeClr val="bg1"/>
                </a:solidFill>
                <a:cs typeface="Source Sans Pro"/>
              </a:rPr>
              <a:t>ec neo </a:t>
            </a:r>
            <a:r>
              <a:rPr sz="1000" spc="-3" dirty="0">
                <a:solidFill>
                  <a:schemeClr val="bg1"/>
                </a:solidFill>
                <a:cs typeface="Source Sans Pro"/>
              </a:rPr>
              <a:t>lore </a:t>
            </a:r>
            <a:r>
              <a:rPr sz="1000" dirty="0">
                <a:solidFill>
                  <a:schemeClr val="bg1"/>
                </a:solidFill>
                <a:cs typeface="Source Sans Pro"/>
              </a:rPr>
              <a:t>vi </a:t>
            </a:r>
            <a:r>
              <a:rPr sz="1000" spc="3" dirty="0">
                <a:solidFill>
                  <a:schemeClr val="bg1"/>
                </a:solidFill>
                <a:cs typeface="Source Sans Pro"/>
              </a:rPr>
              <a:t>me</a:t>
            </a:r>
            <a:r>
              <a:rPr sz="1000" spc="-15" dirty="0">
                <a:solidFill>
                  <a:schemeClr val="bg1"/>
                </a:solidFill>
                <a:cs typeface="Source Sans Pro"/>
              </a:rPr>
              <a:t> </a:t>
            </a:r>
            <a:r>
              <a:rPr sz="1000" dirty="0">
                <a:solidFill>
                  <a:schemeClr val="bg1"/>
                </a:solidFill>
                <a:cs typeface="Source Sans Pro"/>
              </a:rPr>
              <a:t>vouid.</a:t>
            </a:r>
          </a:p>
        </p:txBody>
      </p:sp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4D228109-C841-DCAB-AF3C-7E60EF78B513}"/>
              </a:ext>
            </a:extLst>
          </p:cNvPr>
          <p:cNvSpPr txBox="1">
            <a:spLocks/>
          </p:cNvSpPr>
          <p:nvPr/>
        </p:nvSpPr>
        <p:spPr>
          <a:xfrm>
            <a:off x="9210967" y="6353175"/>
            <a:ext cx="2409531" cy="365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/>
            <a:r>
              <a:rPr lang="ru-RU" dirty="0">
                <a:solidFill>
                  <a:schemeClr val="accent3"/>
                </a:solidFill>
              </a:rPr>
              <a:t>Школа </a:t>
            </a:r>
            <a:r>
              <a:rPr lang="ru-RU" dirty="0" err="1">
                <a:solidFill>
                  <a:schemeClr val="accent3"/>
                </a:solidFill>
              </a:rPr>
              <a:t>Летово</a:t>
            </a:r>
            <a:r>
              <a:rPr lang="en-US" dirty="0">
                <a:solidFill>
                  <a:schemeClr val="accent3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chemeClr val="accent3"/>
                </a:solidFill>
              </a:rPr>
              <a:pPr algn="r" defTabSz="914300"/>
              <a:t>59</a:t>
            </a:fld>
            <a:endParaRPr lang="ru-RU" dirty="0"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915D86-2FE1-F8EE-2A30-BC3EEF5B9D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3712F00-3963-4E7B-A60B-7EB5A7A5B0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езультаты и выводы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2878454-43CD-1CA5-05E8-88D7BAC6E352}"/>
              </a:ext>
            </a:extLst>
          </p:cNvPr>
          <p:cNvSpPr txBox="1"/>
          <p:nvPr/>
        </p:nvSpPr>
        <p:spPr>
          <a:xfrm>
            <a:off x="334963" y="1310446"/>
            <a:ext cx="11162015" cy="46535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buAutoNum type="arabicPeriod"/>
            </a:pPr>
            <a:r>
              <a:rPr lang="ru-RU" dirty="0">
                <a:solidFill>
                  <a:schemeClr val="bg2"/>
                </a:solidFill>
              </a:rPr>
              <a:t>Шмели реагируют на стимулы</a:t>
            </a:r>
          </a:p>
          <a:p>
            <a:pPr marL="342900" indent="-342900">
              <a:buAutoNum type="arabicPeriod"/>
            </a:pPr>
            <a:r>
              <a:rPr lang="ru-RU" dirty="0">
                <a:solidFill>
                  <a:schemeClr val="bg2"/>
                </a:solidFill>
              </a:rPr>
              <a:t>Шмели осторожные, и реагируют не сразу</a:t>
            </a:r>
          </a:p>
          <a:p>
            <a:pPr marL="342900" indent="-342900">
              <a:buAutoNum type="arabicPeriod"/>
            </a:pPr>
            <a:r>
              <a:rPr lang="ru-RU" dirty="0">
                <a:solidFill>
                  <a:schemeClr val="bg2"/>
                </a:solidFill>
              </a:rPr>
              <a:t>Без меда не работало – нужно вознаграждающее подкрепление обучения</a:t>
            </a:r>
          </a:p>
          <a:p>
            <a:pPr marL="342900" indent="-342900">
              <a:buAutoNum type="arabicPeriod"/>
            </a:pPr>
            <a:r>
              <a:rPr lang="ru-RU" dirty="0">
                <a:solidFill>
                  <a:schemeClr val="bg2"/>
                </a:solidFill>
              </a:rPr>
              <a:t>Шмели любят учиться… в </a:t>
            </a:r>
            <a:r>
              <a:rPr lang="ru-RU" dirty="0" err="1">
                <a:solidFill>
                  <a:schemeClr val="bg2"/>
                </a:solidFill>
              </a:rPr>
              <a:t>Летово</a:t>
            </a:r>
            <a:r>
              <a:rPr lang="ru-RU" dirty="0">
                <a:solidFill>
                  <a:schemeClr val="bg2"/>
                </a:solidFill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88814749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898525"/>
          </a:xfrm>
        </p:spPr>
        <p:txBody>
          <a:bodyPr/>
          <a:lstStyle/>
          <a:p>
            <a:endParaRPr lang="en-US" dirty="0"/>
          </a:p>
        </p:txBody>
      </p:sp>
      <p:graphicFrame>
        <p:nvGraphicFramePr>
          <p:cNvPr id="2" name="Diagram 1" descr="SmartArt Graphic"/>
          <p:cNvGraphicFramePr/>
          <p:nvPr>
            <p:extLst>
              <p:ext uri="{D42A27DB-BD31-4B8C-83A1-F6EECF244321}">
                <p14:modId xmlns:p14="http://schemas.microsoft.com/office/powerpoint/2010/main" val="1892949002"/>
              </p:ext>
            </p:extLst>
          </p:nvPr>
        </p:nvGraphicFramePr>
        <p:xfrm>
          <a:off x="1345123" y="1678782"/>
          <a:ext cx="9501754" cy="46713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39484087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37">
            <a:extLst>
              <a:ext uri="{FF2B5EF4-FFF2-40B4-BE49-F238E27FC236}">
                <a16:creationId xmlns:a16="http://schemas.microsoft.com/office/drawing/2014/main" id="{F01988A0-24C3-BF9B-94C4-C567167C56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357930"/>
            <a:ext cx="11253162" cy="592160"/>
          </a:xfrm>
        </p:spPr>
        <p:txBody>
          <a:bodyPr/>
          <a:lstStyle/>
          <a:p>
            <a:endParaRPr lang="ru-RU"/>
          </a:p>
        </p:txBody>
      </p:sp>
      <p:sp>
        <p:nvSpPr>
          <p:cNvPr id="39" name="Subtitle 38">
            <a:extLst>
              <a:ext uri="{FF2B5EF4-FFF2-40B4-BE49-F238E27FC236}">
                <a16:creationId xmlns:a16="http://schemas.microsoft.com/office/drawing/2014/main" id="{924C11A5-5C75-987C-C78C-66AD9010E38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28">
            <a:extLst>
              <a:ext uri="{FF2B5EF4-FFF2-40B4-BE49-F238E27FC236}">
                <a16:creationId xmlns:a16="http://schemas.microsoft.com/office/drawing/2014/main" id="{8C041EF2-9975-FC0C-C6DC-D69E361C9B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9642" y="2840579"/>
            <a:ext cx="1080000" cy="1080000"/>
          </a:xfrm>
          <a:prstGeom prst="rect">
            <a:avLst/>
          </a:prstGeom>
        </p:spPr>
      </p:pic>
      <p:pic>
        <p:nvPicPr>
          <p:cNvPr id="5" name="Рисунок 32">
            <a:extLst>
              <a:ext uri="{FF2B5EF4-FFF2-40B4-BE49-F238E27FC236}">
                <a16:creationId xmlns:a16="http://schemas.microsoft.com/office/drawing/2014/main" id="{5EED9B1C-BFF6-0905-2537-C9829C2518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13631" y="2840579"/>
            <a:ext cx="1080000" cy="1080000"/>
          </a:xfrm>
          <a:prstGeom prst="rect">
            <a:avLst/>
          </a:prstGeom>
        </p:spPr>
      </p:pic>
      <p:pic>
        <p:nvPicPr>
          <p:cNvPr id="6" name="Рисунок 38">
            <a:extLst>
              <a:ext uri="{FF2B5EF4-FFF2-40B4-BE49-F238E27FC236}">
                <a16:creationId xmlns:a16="http://schemas.microsoft.com/office/drawing/2014/main" id="{90B945A5-DD41-F707-2964-7F360028F4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65651" y="2840579"/>
            <a:ext cx="1080000" cy="1080000"/>
          </a:xfrm>
          <a:prstGeom prst="rect">
            <a:avLst/>
          </a:prstGeom>
        </p:spPr>
      </p:pic>
      <p:pic>
        <p:nvPicPr>
          <p:cNvPr id="7" name="Рисунок 42">
            <a:extLst>
              <a:ext uri="{FF2B5EF4-FFF2-40B4-BE49-F238E27FC236}">
                <a16:creationId xmlns:a16="http://schemas.microsoft.com/office/drawing/2014/main" id="{A0353581-1BD5-42EB-FD9C-3CF28685C52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3682" y="2840579"/>
            <a:ext cx="1080000" cy="1080000"/>
          </a:xfrm>
          <a:prstGeom prst="rect">
            <a:avLst/>
          </a:prstGeom>
        </p:spPr>
      </p:pic>
      <p:pic>
        <p:nvPicPr>
          <p:cNvPr id="8" name="Рисунок 44">
            <a:extLst>
              <a:ext uri="{FF2B5EF4-FFF2-40B4-BE49-F238E27FC236}">
                <a16:creationId xmlns:a16="http://schemas.microsoft.com/office/drawing/2014/main" id="{AE495405-EDCD-0A92-7CFD-21D0C3C951D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41662" y="2840579"/>
            <a:ext cx="1080000" cy="1080000"/>
          </a:xfrm>
          <a:prstGeom prst="rect">
            <a:avLst/>
          </a:prstGeom>
        </p:spPr>
      </p:pic>
      <p:pic>
        <p:nvPicPr>
          <p:cNvPr id="9" name="Рисунок 46">
            <a:extLst>
              <a:ext uri="{FF2B5EF4-FFF2-40B4-BE49-F238E27FC236}">
                <a16:creationId xmlns:a16="http://schemas.microsoft.com/office/drawing/2014/main" id="{E139E7FE-C094-2311-2F08-10058C8E5C4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17671" y="2840579"/>
            <a:ext cx="1080000" cy="1080000"/>
          </a:xfrm>
          <a:prstGeom prst="rect">
            <a:avLst/>
          </a:prstGeom>
        </p:spPr>
      </p:pic>
      <p:pic>
        <p:nvPicPr>
          <p:cNvPr id="10" name="Рисунок 52">
            <a:extLst>
              <a:ext uri="{FF2B5EF4-FFF2-40B4-BE49-F238E27FC236}">
                <a16:creationId xmlns:a16="http://schemas.microsoft.com/office/drawing/2014/main" id="{245DBE96-B976-B34D-5F77-4EB3BDC8E6C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65651" y="4219992"/>
            <a:ext cx="1080000" cy="1080000"/>
          </a:xfrm>
          <a:prstGeom prst="rect">
            <a:avLst/>
          </a:prstGeom>
        </p:spPr>
      </p:pic>
      <p:pic>
        <p:nvPicPr>
          <p:cNvPr id="11" name="Рисунок 54">
            <a:extLst>
              <a:ext uri="{FF2B5EF4-FFF2-40B4-BE49-F238E27FC236}">
                <a16:creationId xmlns:a16="http://schemas.microsoft.com/office/drawing/2014/main" id="{5A890C50-6BAB-3EBB-A3BF-2C3A3FD7249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89642" y="4219992"/>
            <a:ext cx="1080000" cy="1080000"/>
          </a:xfrm>
          <a:prstGeom prst="rect">
            <a:avLst/>
          </a:prstGeom>
        </p:spPr>
      </p:pic>
      <p:pic>
        <p:nvPicPr>
          <p:cNvPr id="12" name="Рисунок 60">
            <a:extLst>
              <a:ext uri="{FF2B5EF4-FFF2-40B4-BE49-F238E27FC236}">
                <a16:creationId xmlns:a16="http://schemas.microsoft.com/office/drawing/2014/main" id="{21747784-B34B-B566-859F-397507482B2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017671" y="1483238"/>
            <a:ext cx="1080000" cy="1080000"/>
          </a:xfrm>
          <a:prstGeom prst="rect">
            <a:avLst/>
          </a:prstGeom>
        </p:spPr>
      </p:pic>
      <p:pic>
        <p:nvPicPr>
          <p:cNvPr id="13" name="Рисунок 62" descr="Изображение выглядит как текст, знак, векторная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75038D9D-7976-3C7E-BC9E-C58ED24308D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865651" y="1483238"/>
            <a:ext cx="1080000" cy="1080000"/>
          </a:xfrm>
          <a:prstGeom prst="rect">
            <a:avLst/>
          </a:prstGeom>
        </p:spPr>
      </p:pic>
      <p:pic>
        <p:nvPicPr>
          <p:cNvPr id="14" name="Рисунок 64">
            <a:extLst>
              <a:ext uri="{FF2B5EF4-FFF2-40B4-BE49-F238E27FC236}">
                <a16:creationId xmlns:a16="http://schemas.microsoft.com/office/drawing/2014/main" id="{5F70F373-A94C-FD10-F183-B3AEACEB840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441662" y="1483238"/>
            <a:ext cx="1080000" cy="1080000"/>
          </a:xfrm>
          <a:prstGeom prst="rect">
            <a:avLst/>
          </a:prstGeom>
        </p:spPr>
      </p:pic>
      <p:pic>
        <p:nvPicPr>
          <p:cNvPr id="15" name="Рисунок 66" descr="Изображение выглядит как текст, знак&#10;&#10;Автоматически созданное описание">
            <a:extLst>
              <a:ext uri="{FF2B5EF4-FFF2-40B4-BE49-F238E27FC236}">
                <a16:creationId xmlns:a16="http://schemas.microsoft.com/office/drawing/2014/main" id="{6FBB827D-7F7D-B02F-0EFE-4C8A9C7FA33D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93682" y="1483238"/>
            <a:ext cx="1080000" cy="1080000"/>
          </a:xfrm>
          <a:prstGeom prst="rect">
            <a:avLst/>
          </a:prstGeom>
        </p:spPr>
      </p:pic>
      <p:pic>
        <p:nvPicPr>
          <p:cNvPr id="16" name="Рисунок 68">
            <a:extLst>
              <a:ext uri="{FF2B5EF4-FFF2-40B4-BE49-F238E27FC236}">
                <a16:creationId xmlns:a16="http://schemas.microsoft.com/office/drawing/2014/main" id="{4CC097EC-69C7-2600-12BB-82280B56671F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713631" y="1483238"/>
            <a:ext cx="1080000" cy="1080000"/>
          </a:xfrm>
          <a:prstGeom prst="rect">
            <a:avLst/>
          </a:prstGeom>
        </p:spPr>
      </p:pic>
      <p:pic>
        <p:nvPicPr>
          <p:cNvPr id="17" name="Рисунок 70">
            <a:extLst>
              <a:ext uri="{FF2B5EF4-FFF2-40B4-BE49-F238E27FC236}">
                <a16:creationId xmlns:a16="http://schemas.microsoft.com/office/drawing/2014/main" id="{9754582E-8040-7701-315B-93252E831489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0561609" y="1483238"/>
            <a:ext cx="1080000" cy="1080000"/>
          </a:xfrm>
          <a:prstGeom prst="rect">
            <a:avLst/>
          </a:prstGeom>
        </p:spPr>
      </p:pic>
      <p:pic>
        <p:nvPicPr>
          <p:cNvPr id="18" name="Рисунок 72">
            <a:extLst>
              <a:ext uri="{FF2B5EF4-FFF2-40B4-BE49-F238E27FC236}">
                <a16:creationId xmlns:a16="http://schemas.microsoft.com/office/drawing/2014/main" id="{6A19AF6C-3B15-694C-D8AE-2D20131BACB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137622" y="1483238"/>
            <a:ext cx="1080000" cy="1080000"/>
          </a:xfrm>
          <a:prstGeom prst="rect">
            <a:avLst/>
          </a:prstGeom>
        </p:spPr>
      </p:pic>
      <p:pic>
        <p:nvPicPr>
          <p:cNvPr id="19" name="Рисунок 74">
            <a:extLst>
              <a:ext uri="{FF2B5EF4-FFF2-40B4-BE49-F238E27FC236}">
                <a16:creationId xmlns:a16="http://schemas.microsoft.com/office/drawing/2014/main" id="{9D664C71-ADAC-9565-6033-524B74419958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289642" y="1483238"/>
            <a:ext cx="1080000" cy="1080000"/>
          </a:xfrm>
          <a:prstGeom prst="rect">
            <a:avLst/>
          </a:prstGeom>
        </p:spPr>
      </p:pic>
      <p:pic>
        <p:nvPicPr>
          <p:cNvPr id="20" name="Рисунок 76">
            <a:extLst>
              <a:ext uri="{FF2B5EF4-FFF2-40B4-BE49-F238E27FC236}">
                <a16:creationId xmlns:a16="http://schemas.microsoft.com/office/drawing/2014/main" id="{BE6C0A30-F39F-6559-F739-382BBCABEE55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0561609" y="2840579"/>
            <a:ext cx="1080000" cy="1080000"/>
          </a:xfrm>
          <a:prstGeom prst="rect">
            <a:avLst/>
          </a:prstGeom>
        </p:spPr>
      </p:pic>
      <p:pic>
        <p:nvPicPr>
          <p:cNvPr id="21" name="Рисунок 78">
            <a:extLst>
              <a:ext uri="{FF2B5EF4-FFF2-40B4-BE49-F238E27FC236}">
                <a16:creationId xmlns:a16="http://schemas.microsoft.com/office/drawing/2014/main" id="{D7F4DDD1-DCEE-25D6-18A4-04440B2B22BE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137622" y="2840579"/>
            <a:ext cx="1080000" cy="1080000"/>
          </a:xfrm>
          <a:prstGeom prst="rect">
            <a:avLst/>
          </a:prstGeom>
        </p:spPr>
      </p:pic>
      <p:pic>
        <p:nvPicPr>
          <p:cNvPr id="22" name="Рисунок 80">
            <a:extLst>
              <a:ext uri="{FF2B5EF4-FFF2-40B4-BE49-F238E27FC236}">
                <a16:creationId xmlns:a16="http://schemas.microsoft.com/office/drawing/2014/main" id="{821D0EDA-9E85-0D32-3762-260E1760BD75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7713631" y="4219992"/>
            <a:ext cx="1080000" cy="1080000"/>
          </a:xfrm>
          <a:prstGeom prst="rect">
            <a:avLst/>
          </a:prstGeom>
        </p:spPr>
      </p:pic>
      <p:pic>
        <p:nvPicPr>
          <p:cNvPr id="23" name="Рисунок 90">
            <a:extLst>
              <a:ext uri="{FF2B5EF4-FFF2-40B4-BE49-F238E27FC236}">
                <a16:creationId xmlns:a16="http://schemas.microsoft.com/office/drawing/2014/main" id="{EF76695D-AB0B-4D94-C8E2-452C49F01ABA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7713631" y="5615349"/>
            <a:ext cx="1080000" cy="1080000"/>
          </a:xfrm>
          <a:prstGeom prst="rect">
            <a:avLst/>
          </a:prstGeom>
        </p:spPr>
      </p:pic>
      <p:pic>
        <p:nvPicPr>
          <p:cNvPr id="24" name="Рисунок 98">
            <a:extLst>
              <a:ext uri="{FF2B5EF4-FFF2-40B4-BE49-F238E27FC236}">
                <a16:creationId xmlns:a16="http://schemas.microsoft.com/office/drawing/2014/main" id="{1B5D13B6-3D71-E505-AAED-17F183267A40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593682" y="5615349"/>
            <a:ext cx="1080000" cy="1080000"/>
          </a:xfrm>
          <a:prstGeom prst="rect">
            <a:avLst/>
          </a:prstGeom>
        </p:spPr>
      </p:pic>
      <p:pic>
        <p:nvPicPr>
          <p:cNvPr id="25" name="Рисунок 100">
            <a:extLst>
              <a:ext uri="{FF2B5EF4-FFF2-40B4-BE49-F238E27FC236}">
                <a16:creationId xmlns:a16="http://schemas.microsoft.com/office/drawing/2014/main" id="{9F48F13D-363B-E954-B305-9340F1652D99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3441662" y="5615349"/>
            <a:ext cx="1080000" cy="1080000"/>
          </a:xfrm>
          <a:prstGeom prst="rect">
            <a:avLst/>
          </a:prstGeom>
        </p:spPr>
      </p:pic>
      <p:pic>
        <p:nvPicPr>
          <p:cNvPr id="26" name="Рисунок 102">
            <a:extLst>
              <a:ext uri="{FF2B5EF4-FFF2-40B4-BE49-F238E27FC236}">
                <a16:creationId xmlns:a16="http://schemas.microsoft.com/office/drawing/2014/main" id="{89D54DF1-6967-0535-22C2-4302EC5978A4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6289642" y="5615349"/>
            <a:ext cx="1080000" cy="1080000"/>
          </a:xfrm>
          <a:prstGeom prst="rect">
            <a:avLst/>
          </a:prstGeom>
        </p:spPr>
      </p:pic>
      <p:pic>
        <p:nvPicPr>
          <p:cNvPr id="27" name="Рисунок 104">
            <a:extLst>
              <a:ext uri="{FF2B5EF4-FFF2-40B4-BE49-F238E27FC236}">
                <a16:creationId xmlns:a16="http://schemas.microsoft.com/office/drawing/2014/main" id="{1B292068-8798-FF2B-9C9A-F49B7786FD7F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2017671" y="5615349"/>
            <a:ext cx="1080000" cy="1080000"/>
          </a:xfrm>
          <a:prstGeom prst="rect">
            <a:avLst/>
          </a:prstGeom>
        </p:spPr>
      </p:pic>
      <p:pic>
        <p:nvPicPr>
          <p:cNvPr id="28" name="Рисунок 106">
            <a:extLst>
              <a:ext uri="{FF2B5EF4-FFF2-40B4-BE49-F238E27FC236}">
                <a16:creationId xmlns:a16="http://schemas.microsoft.com/office/drawing/2014/main" id="{35317839-F0ED-27EB-4454-B9EAE9E9A239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9137622" y="5615349"/>
            <a:ext cx="1080000" cy="1080000"/>
          </a:xfrm>
          <a:prstGeom prst="rect">
            <a:avLst/>
          </a:prstGeom>
        </p:spPr>
      </p:pic>
      <p:pic>
        <p:nvPicPr>
          <p:cNvPr id="29" name="Рисунок 108">
            <a:extLst>
              <a:ext uri="{FF2B5EF4-FFF2-40B4-BE49-F238E27FC236}">
                <a16:creationId xmlns:a16="http://schemas.microsoft.com/office/drawing/2014/main" id="{95FB4DCA-6BB2-4BBF-D482-17B84503183C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9137622" y="4219992"/>
            <a:ext cx="1080000" cy="1080000"/>
          </a:xfrm>
          <a:prstGeom prst="rect">
            <a:avLst/>
          </a:prstGeom>
        </p:spPr>
      </p:pic>
      <p:pic>
        <p:nvPicPr>
          <p:cNvPr id="30" name="Рисунок 110">
            <a:extLst>
              <a:ext uri="{FF2B5EF4-FFF2-40B4-BE49-F238E27FC236}">
                <a16:creationId xmlns:a16="http://schemas.microsoft.com/office/drawing/2014/main" id="{F087D83D-8685-421E-A041-C83E9DC440B0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4865651" y="5615349"/>
            <a:ext cx="1080000" cy="1080000"/>
          </a:xfrm>
          <a:prstGeom prst="rect">
            <a:avLst/>
          </a:prstGeom>
        </p:spPr>
      </p:pic>
      <p:pic>
        <p:nvPicPr>
          <p:cNvPr id="31" name="Рисунок 112">
            <a:extLst>
              <a:ext uri="{FF2B5EF4-FFF2-40B4-BE49-F238E27FC236}">
                <a16:creationId xmlns:a16="http://schemas.microsoft.com/office/drawing/2014/main" id="{CBA7B593-4E5A-9214-9A1A-0107A4F850A1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0561609" y="5615349"/>
            <a:ext cx="1080000" cy="1080000"/>
          </a:xfrm>
          <a:prstGeom prst="rect">
            <a:avLst/>
          </a:prstGeom>
        </p:spPr>
      </p:pic>
      <p:pic>
        <p:nvPicPr>
          <p:cNvPr id="32" name="Рисунок 121">
            <a:extLst>
              <a:ext uri="{FF2B5EF4-FFF2-40B4-BE49-F238E27FC236}">
                <a16:creationId xmlns:a16="http://schemas.microsoft.com/office/drawing/2014/main" id="{ADA4EAD2-5335-0EAE-62EC-F90E5D8BA3C2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3441662" y="4219992"/>
            <a:ext cx="1080000" cy="1080000"/>
          </a:xfrm>
          <a:prstGeom prst="rect">
            <a:avLst/>
          </a:prstGeom>
        </p:spPr>
      </p:pic>
      <p:pic>
        <p:nvPicPr>
          <p:cNvPr id="33" name="Рисунок 123">
            <a:extLst>
              <a:ext uri="{FF2B5EF4-FFF2-40B4-BE49-F238E27FC236}">
                <a16:creationId xmlns:a16="http://schemas.microsoft.com/office/drawing/2014/main" id="{02D60D0D-3781-3567-D5C5-ED4B1C65FC77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2017671" y="4219992"/>
            <a:ext cx="1080000" cy="1080000"/>
          </a:xfrm>
          <a:prstGeom prst="rect">
            <a:avLst/>
          </a:prstGeom>
        </p:spPr>
      </p:pic>
      <p:pic>
        <p:nvPicPr>
          <p:cNvPr id="34" name="Рисунок 125">
            <a:extLst>
              <a:ext uri="{FF2B5EF4-FFF2-40B4-BE49-F238E27FC236}">
                <a16:creationId xmlns:a16="http://schemas.microsoft.com/office/drawing/2014/main" id="{657AF012-3B0C-F509-F540-25DAB2B264FF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606793" y="4219992"/>
            <a:ext cx="1080000" cy="1080000"/>
          </a:xfrm>
          <a:prstGeom prst="rect">
            <a:avLst/>
          </a:prstGeom>
        </p:spPr>
      </p:pic>
      <p:pic>
        <p:nvPicPr>
          <p:cNvPr id="35" name="Рисунок 127">
            <a:extLst>
              <a:ext uri="{FF2B5EF4-FFF2-40B4-BE49-F238E27FC236}">
                <a16:creationId xmlns:a16="http://schemas.microsoft.com/office/drawing/2014/main" id="{F39CF832-58E3-0E65-428D-28C239B1A12E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10561609" y="4219992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118133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itle 34">
            <a:extLst>
              <a:ext uri="{FF2B5EF4-FFF2-40B4-BE49-F238E27FC236}">
                <a16:creationId xmlns:a16="http://schemas.microsoft.com/office/drawing/2014/main" id="{712038FF-7E99-D5B2-0BBA-98A2335FFDC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3" y="357930"/>
            <a:ext cx="11253162" cy="592160"/>
          </a:xfrm>
        </p:spPr>
        <p:txBody>
          <a:bodyPr/>
          <a:lstStyle/>
          <a:p>
            <a:endParaRPr lang="ru-RU"/>
          </a:p>
        </p:txBody>
      </p:sp>
      <p:sp>
        <p:nvSpPr>
          <p:cNvPr id="36" name="Subtitle 35">
            <a:extLst>
              <a:ext uri="{FF2B5EF4-FFF2-40B4-BE49-F238E27FC236}">
                <a16:creationId xmlns:a16="http://schemas.microsoft.com/office/drawing/2014/main" id="{BA154282-A8D0-3493-3284-D733D327259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4">
            <a:extLst>
              <a:ext uri="{FF2B5EF4-FFF2-40B4-BE49-F238E27FC236}">
                <a16:creationId xmlns:a16="http://schemas.microsoft.com/office/drawing/2014/main" id="{A2F42833-F781-E09C-8037-5C7F1213FF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1778" y="1482752"/>
            <a:ext cx="1080000" cy="1080000"/>
          </a:xfrm>
          <a:prstGeom prst="rect">
            <a:avLst/>
          </a:prstGeom>
        </p:spPr>
      </p:pic>
      <p:pic>
        <p:nvPicPr>
          <p:cNvPr id="5" name="Рисунок 6">
            <a:extLst>
              <a:ext uri="{FF2B5EF4-FFF2-40B4-BE49-F238E27FC236}">
                <a16:creationId xmlns:a16="http://schemas.microsoft.com/office/drawing/2014/main" id="{A92DEB57-2C53-1AB6-70AA-5149267B08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16532" y="1482752"/>
            <a:ext cx="1080000" cy="1080000"/>
          </a:xfrm>
          <a:prstGeom prst="rect">
            <a:avLst/>
          </a:prstGeom>
        </p:spPr>
      </p:pic>
      <p:pic>
        <p:nvPicPr>
          <p:cNvPr id="6" name="Рисунок 8">
            <a:extLst>
              <a:ext uri="{FF2B5EF4-FFF2-40B4-BE49-F238E27FC236}">
                <a16:creationId xmlns:a16="http://schemas.microsoft.com/office/drawing/2014/main" id="{8F8C72AE-F14D-77E9-F4D2-16A637C8B8B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1285" y="1482752"/>
            <a:ext cx="1080000" cy="1080000"/>
          </a:xfrm>
          <a:prstGeom prst="rect">
            <a:avLst/>
          </a:prstGeom>
        </p:spPr>
      </p:pic>
      <p:pic>
        <p:nvPicPr>
          <p:cNvPr id="7" name="Рисунок 24" descr="Изображение выглядит как окно, векторная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D64329B8-9E19-0097-E7B2-C435FE2A704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42767" y="4222550"/>
            <a:ext cx="1080000" cy="1080000"/>
          </a:xfrm>
          <a:prstGeom prst="rect">
            <a:avLst/>
          </a:prstGeom>
        </p:spPr>
      </p:pic>
      <p:pic>
        <p:nvPicPr>
          <p:cNvPr id="8" name="Рисунок 31">
            <a:extLst>
              <a:ext uri="{FF2B5EF4-FFF2-40B4-BE49-F238E27FC236}">
                <a16:creationId xmlns:a16="http://schemas.microsoft.com/office/drawing/2014/main" id="{4A1C460F-ABA4-3E8A-1C8D-EE89F518B89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1285" y="2846796"/>
            <a:ext cx="1080000" cy="1080000"/>
          </a:xfrm>
          <a:prstGeom prst="rect">
            <a:avLst/>
          </a:prstGeom>
        </p:spPr>
      </p:pic>
      <p:pic>
        <p:nvPicPr>
          <p:cNvPr id="9" name="Рисунок 34">
            <a:extLst>
              <a:ext uri="{FF2B5EF4-FFF2-40B4-BE49-F238E27FC236}">
                <a16:creationId xmlns:a16="http://schemas.microsoft.com/office/drawing/2014/main" id="{ADD02096-F8E6-54EF-09D2-F03EEBF6A0E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67026" y="1482752"/>
            <a:ext cx="1080000" cy="1080000"/>
          </a:xfrm>
          <a:prstGeom prst="rect">
            <a:avLst/>
          </a:prstGeom>
        </p:spPr>
      </p:pic>
      <p:pic>
        <p:nvPicPr>
          <p:cNvPr id="10" name="Рисунок 36">
            <a:extLst>
              <a:ext uri="{FF2B5EF4-FFF2-40B4-BE49-F238E27FC236}">
                <a16:creationId xmlns:a16="http://schemas.microsoft.com/office/drawing/2014/main" id="{7CFC6D74-10E8-6310-AD88-6C975D322FF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41778" y="2846796"/>
            <a:ext cx="1080000" cy="1080000"/>
          </a:xfrm>
          <a:prstGeom prst="rect">
            <a:avLst/>
          </a:prstGeom>
        </p:spPr>
      </p:pic>
      <p:pic>
        <p:nvPicPr>
          <p:cNvPr id="11" name="Рисунок 39">
            <a:extLst>
              <a:ext uri="{FF2B5EF4-FFF2-40B4-BE49-F238E27FC236}">
                <a16:creationId xmlns:a16="http://schemas.microsoft.com/office/drawing/2014/main" id="{1E2E80CA-187C-6EF9-4055-5DD8E780FE4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17519" y="1482752"/>
            <a:ext cx="1080000" cy="1080000"/>
          </a:xfrm>
          <a:prstGeom prst="rect">
            <a:avLst/>
          </a:prstGeom>
        </p:spPr>
      </p:pic>
      <p:pic>
        <p:nvPicPr>
          <p:cNvPr id="12" name="Рисунок 41">
            <a:extLst>
              <a:ext uri="{FF2B5EF4-FFF2-40B4-BE49-F238E27FC236}">
                <a16:creationId xmlns:a16="http://schemas.microsoft.com/office/drawing/2014/main" id="{1EF213A3-20C4-47B5-15F1-F254E22A18A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292272" y="2846796"/>
            <a:ext cx="1080000" cy="1080000"/>
          </a:xfrm>
          <a:prstGeom prst="rect">
            <a:avLst/>
          </a:prstGeom>
        </p:spPr>
      </p:pic>
      <p:pic>
        <p:nvPicPr>
          <p:cNvPr id="13" name="Рисунок 45">
            <a:extLst>
              <a:ext uri="{FF2B5EF4-FFF2-40B4-BE49-F238E27FC236}">
                <a16:creationId xmlns:a16="http://schemas.microsoft.com/office/drawing/2014/main" id="{50F19AFB-0AFB-F478-17D3-98DE6CE421E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292272" y="1482752"/>
            <a:ext cx="1080000" cy="1080000"/>
          </a:xfrm>
          <a:prstGeom prst="rect">
            <a:avLst/>
          </a:prstGeom>
        </p:spPr>
      </p:pic>
      <p:pic>
        <p:nvPicPr>
          <p:cNvPr id="14" name="Рисунок 48">
            <a:extLst>
              <a:ext uri="{FF2B5EF4-FFF2-40B4-BE49-F238E27FC236}">
                <a16:creationId xmlns:a16="http://schemas.microsoft.com/office/drawing/2014/main" id="{C2B22CA2-F22A-10FB-3F4E-44E99443585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717519" y="2846796"/>
            <a:ext cx="1080000" cy="1080000"/>
          </a:xfrm>
          <a:prstGeom prst="rect">
            <a:avLst/>
          </a:prstGeom>
        </p:spPr>
      </p:pic>
      <p:pic>
        <p:nvPicPr>
          <p:cNvPr id="15" name="Рисунок 51">
            <a:extLst>
              <a:ext uri="{FF2B5EF4-FFF2-40B4-BE49-F238E27FC236}">
                <a16:creationId xmlns:a16="http://schemas.microsoft.com/office/drawing/2014/main" id="{535C2E76-D150-0CB9-963D-4BCCE3109B5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867026" y="2846796"/>
            <a:ext cx="1080000" cy="1080000"/>
          </a:xfrm>
          <a:prstGeom prst="rect">
            <a:avLst/>
          </a:prstGeom>
        </p:spPr>
      </p:pic>
      <p:pic>
        <p:nvPicPr>
          <p:cNvPr id="16" name="Рисунок 56">
            <a:extLst>
              <a:ext uri="{FF2B5EF4-FFF2-40B4-BE49-F238E27FC236}">
                <a16:creationId xmlns:a16="http://schemas.microsoft.com/office/drawing/2014/main" id="{4183001A-6D79-44F5-0A42-8F251F6E8BE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142767" y="2846796"/>
            <a:ext cx="1080000" cy="1080000"/>
          </a:xfrm>
          <a:prstGeom prst="rect">
            <a:avLst/>
          </a:prstGeom>
        </p:spPr>
      </p:pic>
      <p:pic>
        <p:nvPicPr>
          <p:cNvPr id="17" name="Рисунок 58">
            <a:extLst>
              <a:ext uri="{FF2B5EF4-FFF2-40B4-BE49-F238E27FC236}">
                <a16:creationId xmlns:a16="http://schemas.microsoft.com/office/drawing/2014/main" id="{8586B79A-3897-3A6C-2131-E0060393714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016532" y="2846796"/>
            <a:ext cx="1080000" cy="1080000"/>
          </a:xfrm>
          <a:prstGeom prst="rect">
            <a:avLst/>
          </a:prstGeom>
        </p:spPr>
      </p:pic>
      <p:pic>
        <p:nvPicPr>
          <p:cNvPr id="18" name="Рисунок 61" descr="Изображение выглядит как текст, знак&#10;&#10;Автоматически созданное описание">
            <a:extLst>
              <a:ext uri="{FF2B5EF4-FFF2-40B4-BE49-F238E27FC236}">
                <a16:creationId xmlns:a16="http://schemas.microsoft.com/office/drawing/2014/main" id="{1632A7D1-9E1D-A0D3-7F3E-663F133AFD53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137879" y="5603826"/>
            <a:ext cx="1080000" cy="1080000"/>
          </a:xfrm>
          <a:prstGeom prst="rect">
            <a:avLst/>
          </a:prstGeom>
        </p:spPr>
      </p:pic>
      <p:pic>
        <p:nvPicPr>
          <p:cNvPr id="19" name="Рисунок 82">
            <a:extLst>
              <a:ext uri="{FF2B5EF4-FFF2-40B4-BE49-F238E27FC236}">
                <a16:creationId xmlns:a16="http://schemas.microsoft.com/office/drawing/2014/main" id="{551EBE91-DE1F-58BE-FDAA-23D6953AFFBD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0568014" y="1482752"/>
            <a:ext cx="1080000" cy="1080000"/>
          </a:xfrm>
          <a:prstGeom prst="rect">
            <a:avLst/>
          </a:prstGeom>
        </p:spPr>
      </p:pic>
      <p:pic>
        <p:nvPicPr>
          <p:cNvPr id="20" name="Рисунок 85">
            <a:extLst>
              <a:ext uri="{FF2B5EF4-FFF2-40B4-BE49-F238E27FC236}">
                <a16:creationId xmlns:a16="http://schemas.microsoft.com/office/drawing/2014/main" id="{4787DE87-1201-8B7B-F6CF-C6BC2E64C5E0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142767" y="1482752"/>
            <a:ext cx="1080000" cy="1080000"/>
          </a:xfrm>
          <a:prstGeom prst="rect">
            <a:avLst/>
          </a:prstGeom>
        </p:spPr>
      </p:pic>
      <p:pic>
        <p:nvPicPr>
          <p:cNvPr id="21" name="Рисунок 89">
            <a:extLst>
              <a:ext uri="{FF2B5EF4-FFF2-40B4-BE49-F238E27FC236}">
                <a16:creationId xmlns:a16="http://schemas.microsoft.com/office/drawing/2014/main" id="{88697B47-F5FA-493A-AA61-14DDA4FEB9C2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591285" y="4222550"/>
            <a:ext cx="1080000" cy="1080000"/>
          </a:xfrm>
          <a:prstGeom prst="rect">
            <a:avLst/>
          </a:prstGeom>
        </p:spPr>
      </p:pic>
      <p:pic>
        <p:nvPicPr>
          <p:cNvPr id="22" name="Рисунок 92">
            <a:extLst>
              <a:ext uri="{FF2B5EF4-FFF2-40B4-BE49-F238E27FC236}">
                <a16:creationId xmlns:a16="http://schemas.microsoft.com/office/drawing/2014/main" id="{21FBFB5F-CBF8-2DB0-0F3C-C7A0C950D83E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7717519" y="4222550"/>
            <a:ext cx="1080000" cy="1080000"/>
          </a:xfrm>
          <a:prstGeom prst="rect">
            <a:avLst/>
          </a:prstGeom>
        </p:spPr>
      </p:pic>
      <p:pic>
        <p:nvPicPr>
          <p:cNvPr id="23" name="Рисунок 95">
            <a:extLst>
              <a:ext uri="{FF2B5EF4-FFF2-40B4-BE49-F238E27FC236}">
                <a16:creationId xmlns:a16="http://schemas.microsoft.com/office/drawing/2014/main" id="{95B3B64B-F7D4-B949-365B-56712DEC88BD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4867026" y="4222550"/>
            <a:ext cx="1080000" cy="1080000"/>
          </a:xfrm>
          <a:prstGeom prst="rect">
            <a:avLst/>
          </a:prstGeom>
        </p:spPr>
      </p:pic>
      <p:pic>
        <p:nvPicPr>
          <p:cNvPr id="24" name="Рисунок 97">
            <a:extLst>
              <a:ext uri="{FF2B5EF4-FFF2-40B4-BE49-F238E27FC236}">
                <a16:creationId xmlns:a16="http://schemas.microsoft.com/office/drawing/2014/main" id="{E2EDA28D-3075-F804-B9AA-451B4E3A3F88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6292272" y="4222550"/>
            <a:ext cx="1080000" cy="1080000"/>
          </a:xfrm>
          <a:prstGeom prst="rect">
            <a:avLst/>
          </a:prstGeom>
        </p:spPr>
      </p:pic>
      <p:pic>
        <p:nvPicPr>
          <p:cNvPr id="25" name="Рисунок 101">
            <a:extLst>
              <a:ext uri="{FF2B5EF4-FFF2-40B4-BE49-F238E27FC236}">
                <a16:creationId xmlns:a16="http://schemas.microsoft.com/office/drawing/2014/main" id="{2A506374-AE6A-3811-ADA0-3EE08EF423AC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3441778" y="4222550"/>
            <a:ext cx="1080000" cy="1080000"/>
          </a:xfrm>
          <a:prstGeom prst="rect">
            <a:avLst/>
          </a:prstGeom>
        </p:spPr>
      </p:pic>
      <p:pic>
        <p:nvPicPr>
          <p:cNvPr id="26" name="Рисунок 105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E53A980D-C3E8-8492-4643-D6100C8A1252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2016532" y="4222550"/>
            <a:ext cx="1080000" cy="1080000"/>
          </a:xfrm>
          <a:prstGeom prst="rect">
            <a:avLst/>
          </a:prstGeom>
        </p:spPr>
      </p:pic>
      <p:pic>
        <p:nvPicPr>
          <p:cNvPr id="27" name="Рисунок 120">
            <a:extLst>
              <a:ext uri="{FF2B5EF4-FFF2-40B4-BE49-F238E27FC236}">
                <a16:creationId xmlns:a16="http://schemas.microsoft.com/office/drawing/2014/main" id="{2BFF404E-CB7D-34D6-B224-CBA29052C627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3440149" y="5603826"/>
            <a:ext cx="1080000" cy="1080000"/>
          </a:xfrm>
          <a:prstGeom prst="rect">
            <a:avLst/>
          </a:prstGeom>
        </p:spPr>
      </p:pic>
      <p:pic>
        <p:nvPicPr>
          <p:cNvPr id="28" name="Рисунок 121">
            <a:extLst>
              <a:ext uri="{FF2B5EF4-FFF2-40B4-BE49-F238E27FC236}">
                <a16:creationId xmlns:a16="http://schemas.microsoft.com/office/drawing/2014/main" id="{B536FB63-361A-C497-88ED-25E70C31D54D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2015717" y="5603826"/>
            <a:ext cx="1080000" cy="1080000"/>
          </a:xfrm>
          <a:prstGeom prst="rect">
            <a:avLst/>
          </a:prstGeom>
        </p:spPr>
      </p:pic>
      <p:pic>
        <p:nvPicPr>
          <p:cNvPr id="29" name="Рисунок 122">
            <a:extLst>
              <a:ext uri="{FF2B5EF4-FFF2-40B4-BE49-F238E27FC236}">
                <a16:creationId xmlns:a16="http://schemas.microsoft.com/office/drawing/2014/main" id="{B6E29AF3-F070-C27A-E038-6CC208F75494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591285" y="5603826"/>
            <a:ext cx="1080000" cy="1080000"/>
          </a:xfrm>
          <a:prstGeom prst="rect">
            <a:avLst/>
          </a:prstGeom>
        </p:spPr>
      </p:pic>
      <p:pic>
        <p:nvPicPr>
          <p:cNvPr id="30" name="Рисунок 123">
            <a:extLst>
              <a:ext uri="{FF2B5EF4-FFF2-40B4-BE49-F238E27FC236}">
                <a16:creationId xmlns:a16="http://schemas.microsoft.com/office/drawing/2014/main" id="{B7AFC03F-772A-5248-8238-8C2196DF7F59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7713445" y="5603826"/>
            <a:ext cx="1080000" cy="1080000"/>
          </a:xfrm>
          <a:prstGeom prst="rect">
            <a:avLst/>
          </a:prstGeom>
        </p:spPr>
      </p:pic>
      <p:pic>
        <p:nvPicPr>
          <p:cNvPr id="31" name="Рисунок 124">
            <a:extLst>
              <a:ext uri="{FF2B5EF4-FFF2-40B4-BE49-F238E27FC236}">
                <a16:creationId xmlns:a16="http://schemas.microsoft.com/office/drawing/2014/main" id="{06F9EA71-C267-7C8C-9E5D-9408C95EC1F5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4864580" y="5603826"/>
            <a:ext cx="1080000" cy="1080000"/>
          </a:xfrm>
          <a:prstGeom prst="rect">
            <a:avLst/>
          </a:prstGeom>
        </p:spPr>
      </p:pic>
      <p:pic>
        <p:nvPicPr>
          <p:cNvPr id="32" name="Рисунок 125">
            <a:extLst>
              <a:ext uri="{FF2B5EF4-FFF2-40B4-BE49-F238E27FC236}">
                <a16:creationId xmlns:a16="http://schemas.microsoft.com/office/drawing/2014/main" id="{17001021-A106-4B43-7DA3-5D3E03CBF437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6289012" y="5603826"/>
            <a:ext cx="1080000" cy="1080000"/>
          </a:xfrm>
          <a:prstGeom prst="rect">
            <a:avLst/>
          </a:prstGeom>
        </p:spPr>
      </p:pic>
      <p:pic>
        <p:nvPicPr>
          <p:cNvPr id="33" name="Рисунок 131">
            <a:extLst>
              <a:ext uri="{FF2B5EF4-FFF2-40B4-BE49-F238E27FC236}">
                <a16:creationId xmlns:a16="http://schemas.microsoft.com/office/drawing/2014/main" id="{44249986-B39C-F5D7-5B32-9E39724E7B9D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10568014" y="2860534"/>
            <a:ext cx="1080000" cy="1080000"/>
          </a:xfrm>
          <a:prstGeom prst="rect">
            <a:avLst/>
          </a:prstGeom>
        </p:spPr>
      </p:pic>
      <p:pic>
        <p:nvPicPr>
          <p:cNvPr id="34" name="Рисунок 133" descr="Изображение выглядит как текст, аптечка, монитор&#10;&#10;Автоматически созданное описание">
            <a:extLst>
              <a:ext uri="{FF2B5EF4-FFF2-40B4-BE49-F238E27FC236}">
                <a16:creationId xmlns:a16="http://schemas.microsoft.com/office/drawing/2014/main" id="{C3DDDA9E-A0B0-8091-AA8E-4EEDE4EE214C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10568014" y="422255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55191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>
            <a:extLst>
              <a:ext uri="{FF2B5EF4-FFF2-40B4-BE49-F238E27FC236}">
                <a16:creationId xmlns:a16="http://schemas.microsoft.com/office/drawing/2014/main" id="{B5C53078-67C3-6EC8-AC56-BF4AE3477C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1825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3D8FD7F-4951-1F31-5465-E9504B19B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1"/>
            <a:ext cx="11043262" cy="869949"/>
          </a:xfrm>
        </p:spPr>
        <p:txBody>
          <a:bodyPr vert="horz" anchor="t" anchorCtr="0"/>
          <a:lstStyle/>
          <a:p>
            <a:r>
              <a:rPr lang="ru-RU" dirty="0"/>
              <a:t>Заголовок в 2 строки </a:t>
            </a:r>
            <a:br>
              <a:rPr lang="ru-RU" dirty="0"/>
            </a:br>
            <a:r>
              <a:rPr lang="ru-RU" dirty="0"/>
              <a:t>Заголовок в 2 строки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737CDBA-DD7B-2E27-6B5E-754594E126B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E0EAFE-D155-AAF9-18CF-8CFF7E327ED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C5AD6B8-AC14-FB5B-B94B-C89E56525A95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1F0BA57-75C1-2476-D7B8-99C304A01F3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37FAC0-724F-BE91-6B6F-919EC056085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1B60455-C6B9-FF3E-62A3-086732CBC50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60325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-397" y="0"/>
            <a:ext cx="12192299" cy="6857615"/>
          </a:xfrm>
          <a:custGeom>
            <a:avLst/>
            <a:gdLst/>
            <a:ahLst/>
            <a:cxnLst/>
            <a:rect l="l" t="t" r="r" b="b"/>
            <a:pathLst>
              <a:path w="20106005" h="11308715">
                <a:moveTo>
                  <a:pt x="0" y="11308556"/>
                </a:moveTo>
                <a:lnTo>
                  <a:pt x="20105461" y="11308556"/>
                </a:lnTo>
                <a:lnTo>
                  <a:pt x="20105461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pPr defTabSz="554492"/>
            <a:endParaRPr sz="1092" dirty="0">
              <a:solidFill>
                <a:prstClr val="black"/>
              </a:solidFill>
              <a:latin typeface="Segoe UI" panose="020B0502040204020203" pitchFamily="34" charset="0"/>
            </a:endParaRPr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2BEDE490-5F2F-8A5D-D34F-7FAE626053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522075" cy="898525"/>
          </a:xfrm>
        </p:spPr>
        <p:txBody>
          <a:bodyPr/>
          <a:lstStyle/>
          <a:p>
            <a:endParaRPr lang="ru-RU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661081" y="2227201"/>
            <a:ext cx="4134053" cy="1178653"/>
          </a:xfrm>
          <a:prstGeom prst="rect">
            <a:avLst/>
          </a:prstGeom>
        </p:spPr>
        <p:txBody>
          <a:bodyPr vert="horz" wrap="square" lIns="0" tIns="35811" rIns="0" bIns="0" rtlCol="0">
            <a:noAutofit/>
          </a:bodyPr>
          <a:lstStyle/>
          <a:p>
            <a:pPr marL="7701" marR="393150" defTabSz="554492">
              <a:lnSpc>
                <a:spcPts val="2347"/>
              </a:lnSpc>
              <a:spcBef>
                <a:spcPts val="282"/>
              </a:spcBef>
            </a:pPr>
            <a:r>
              <a:rPr sz="2092" spc="3" dirty="0">
                <a:solidFill>
                  <a:srgbClr val="FFFFFF"/>
                </a:solidFill>
                <a:cs typeface="Source Sans Pro"/>
              </a:rPr>
              <a:t>Nius bonsicii </a:t>
            </a:r>
            <a:r>
              <a:rPr sz="2092" spc="-6" dirty="0">
                <a:solidFill>
                  <a:srgbClr val="FFFFFF"/>
                </a:solidFill>
                <a:cs typeface="Source Sans Pro"/>
              </a:rPr>
              <a:t>consili </a:t>
            </a:r>
            <a:r>
              <a:rPr sz="2092" dirty="0">
                <a:solidFill>
                  <a:srgbClr val="FFFFFF"/>
                </a:solidFill>
                <a:cs typeface="Source Sans Pro"/>
              </a:rPr>
              <a:t>uli </a:t>
            </a:r>
            <a:r>
              <a:rPr sz="2092" spc="-6" dirty="0">
                <a:solidFill>
                  <a:srgbClr val="FFFFFF"/>
                </a:solidFill>
                <a:cs typeface="Source Sans Pro"/>
              </a:rPr>
              <a:t>cae</a:t>
            </a:r>
            <a:r>
              <a:rPr sz="2092" spc="-45" dirty="0">
                <a:solidFill>
                  <a:srgbClr val="FFFFFF"/>
                </a:solidFill>
                <a:cs typeface="Source Sans Pro"/>
              </a:rPr>
              <a:t> </a:t>
            </a:r>
            <a:r>
              <a:rPr sz="2092" spc="3" dirty="0">
                <a:solidFill>
                  <a:srgbClr val="FFFFFF"/>
                </a:solidFill>
                <a:cs typeface="Source Sans Pro"/>
              </a:rPr>
              <a:t>non-  </a:t>
            </a:r>
            <a:r>
              <a:rPr sz="2092" spc="-9" dirty="0">
                <a:solidFill>
                  <a:srgbClr val="FFFFFF"/>
                </a:solidFill>
                <a:cs typeface="Source Sans Pro"/>
              </a:rPr>
              <a:t>alicon</a:t>
            </a:r>
            <a:r>
              <a:rPr sz="2092" spc="-3" dirty="0">
                <a:solidFill>
                  <a:srgbClr val="FFFFFF"/>
                </a:solidFill>
                <a:cs typeface="Source Sans Pro"/>
              </a:rPr>
              <a:t> pestimihi</a:t>
            </a:r>
            <a:endParaRPr sz="2092" dirty="0">
              <a:solidFill>
                <a:prstClr val="black"/>
              </a:solidFill>
              <a:cs typeface="Source Sans Pro"/>
            </a:endParaRPr>
          </a:p>
          <a:p>
            <a:pPr marL="7701" marR="3081" defTabSz="554492">
              <a:lnSpc>
                <a:spcPct val="103699"/>
              </a:lnSpc>
              <a:spcBef>
                <a:spcPts val="557"/>
              </a:spcBef>
            </a:pPr>
            <a:r>
              <a:rPr sz="1486" spc="6" dirty="0">
                <a:solidFill>
                  <a:srgbClr val="FFFFFF"/>
                </a:solidFill>
                <a:cs typeface="Source Sans Pro Semibold"/>
              </a:rPr>
              <a:t>Nius </a:t>
            </a:r>
            <a:r>
              <a:rPr sz="1486" spc="3" dirty="0">
                <a:solidFill>
                  <a:srgbClr val="FFFFFF"/>
                </a:solidFill>
                <a:cs typeface="Source Sans Pro Semibold"/>
              </a:rPr>
              <a:t>bonsicii </a:t>
            </a:r>
            <a:r>
              <a:rPr sz="1486" dirty="0">
                <a:solidFill>
                  <a:srgbClr val="FFFFFF"/>
                </a:solidFill>
                <a:cs typeface="Source Sans Pro Semibold"/>
              </a:rPr>
              <a:t>consilibus </a:t>
            </a:r>
            <a:r>
              <a:rPr sz="1486" spc="3" dirty="0">
                <a:solidFill>
                  <a:srgbClr val="FFFFFF"/>
                </a:solidFill>
                <a:cs typeface="Source Sans Pro Semibold"/>
              </a:rPr>
              <a:t>sulicae </a:t>
            </a:r>
            <a:r>
              <a:rPr sz="1486" spc="6" dirty="0">
                <a:solidFill>
                  <a:srgbClr val="FFFFFF"/>
                </a:solidFill>
                <a:cs typeface="Source Sans Pro Semibold"/>
              </a:rPr>
              <a:t>n </a:t>
            </a:r>
            <a:r>
              <a:rPr sz="1486" dirty="0">
                <a:solidFill>
                  <a:srgbClr val="FFFFFF"/>
                </a:solidFill>
                <a:cs typeface="Source Sans Pro Semibold"/>
              </a:rPr>
              <a:t>ilicae </a:t>
            </a:r>
            <a:r>
              <a:rPr sz="1486" spc="6" dirty="0">
                <a:solidFill>
                  <a:srgbClr val="FFFFFF"/>
                </a:solidFill>
                <a:cs typeface="Source Sans Pro Semibold"/>
              </a:rPr>
              <a:t>que </a:t>
            </a:r>
            <a:r>
              <a:rPr sz="1486" dirty="0">
                <a:solidFill>
                  <a:srgbClr val="FFFFFF"/>
                </a:solidFill>
                <a:cs typeface="Source Sans Pro Semibold"/>
              </a:rPr>
              <a:t>halicon  </a:t>
            </a:r>
            <a:r>
              <a:rPr sz="1486" spc="3" dirty="0">
                <a:solidFill>
                  <a:srgbClr val="FFFFFF"/>
                </a:solidFill>
                <a:cs typeface="Source Sans Pro Semibold"/>
              </a:rPr>
              <a:t>pestimihi, </a:t>
            </a:r>
            <a:r>
              <a:rPr sz="1486" spc="6" dirty="0">
                <a:solidFill>
                  <a:srgbClr val="FFFFFF"/>
                </a:solidFill>
                <a:cs typeface="Source Sans Pro Semibold"/>
              </a:rPr>
              <a:t>que noc</a:t>
            </a:r>
            <a:r>
              <a:rPr sz="1486" spc="-12" dirty="0">
                <a:solidFill>
                  <a:srgbClr val="FFFFFF"/>
                </a:solidFill>
                <a:cs typeface="Source Sans Pro Semibold"/>
              </a:rPr>
              <a:t> </a:t>
            </a:r>
            <a:r>
              <a:rPr sz="1486" dirty="0">
                <a:solidFill>
                  <a:srgbClr val="FFFFFF"/>
                </a:solidFill>
                <a:cs typeface="Source Sans Pro Semibold"/>
              </a:rPr>
              <a:t>teique.</a:t>
            </a:r>
            <a:endParaRPr sz="1486" dirty="0">
              <a:solidFill>
                <a:prstClr val="black"/>
              </a:solidFill>
              <a:cs typeface="Source Sans Pro Semibold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661082" y="3602894"/>
            <a:ext cx="4377799" cy="1310483"/>
          </a:xfrm>
          <a:prstGeom prst="rect">
            <a:avLst/>
          </a:prstGeom>
        </p:spPr>
        <p:txBody>
          <a:bodyPr vert="horz" wrap="square" lIns="0" tIns="35811" rIns="0" bIns="0" rtlCol="0">
            <a:noAutofit/>
          </a:bodyPr>
          <a:lstStyle/>
          <a:p>
            <a:pPr marL="7701" marR="1795168" defTabSz="554492">
              <a:lnSpc>
                <a:spcPts val="2347"/>
              </a:lnSpc>
              <a:spcBef>
                <a:spcPts val="282"/>
              </a:spcBef>
            </a:pPr>
            <a:r>
              <a:rPr sz="2092" spc="-52" dirty="0">
                <a:solidFill>
                  <a:srgbClr val="FFFFFF"/>
                </a:solidFill>
                <a:cs typeface="Source Sans Pro"/>
              </a:rPr>
              <a:t>Tem </a:t>
            </a:r>
            <a:r>
              <a:rPr sz="2092" dirty="0">
                <a:solidFill>
                  <a:srgbClr val="FFFFFF"/>
                </a:solidFill>
                <a:cs typeface="Source Sans Pro"/>
              </a:rPr>
              <a:t>rescienduci </a:t>
            </a:r>
            <a:r>
              <a:rPr sz="2092" spc="3" dirty="0">
                <a:solidFill>
                  <a:srgbClr val="FFFFFF"/>
                </a:solidFill>
                <a:cs typeface="Source Sans Pro"/>
              </a:rPr>
              <a:t>que  </a:t>
            </a:r>
            <a:r>
              <a:rPr sz="2092" spc="-3" dirty="0">
                <a:solidFill>
                  <a:srgbClr val="FFFFFF"/>
                </a:solidFill>
                <a:cs typeface="Source Sans Pro"/>
              </a:rPr>
              <a:t>estrum </a:t>
            </a:r>
            <a:r>
              <a:rPr sz="2092" dirty="0">
                <a:solidFill>
                  <a:srgbClr val="FFFFFF"/>
                </a:solidFill>
                <a:cs typeface="Source Sans Pro"/>
              </a:rPr>
              <a:t>ini </a:t>
            </a:r>
            <a:r>
              <a:rPr sz="2092" spc="3" dirty="0">
                <a:solidFill>
                  <a:srgbClr val="FFFFFF"/>
                </a:solidFill>
                <a:cs typeface="Source Sans Pro"/>
              </a:rPr>
              <a:t>dis</a:t>
            </a:r>
            <a:r>
              <a:rPr sz="2092" spc="-36" dirty="0">
                <a:solidFill>
                  <a:srgbClr val="FFFFFF"/>
                </a:solidFill>
                <a:cs typeface="Source Sans Pro"/>
              </a:rPr>
              <a:t> </a:t>
            </a:r>
            <a:r>
              <a:rPr sz="2092" spc="-3" dirty="0">
                <a:solidFill>
                  <a:srgbClr val="FFFFFF"/>
                </a:solidFill>
                <a:cs typeface="Source Sans Pro"/>
              </a:rPr>
              <a:t>evendis</a:t>
            </a:r>
            <a:endParaRPr sz="2092" dirty="0">
              <a:solidFill>
                <a:prstClr val="black"/>
              </a:solidFill>
              <a:cs typeface="Source Sans Pro"/>
            </a:endParaRPr>
          </a:p>
          <a:p>
            <a:pPr marL="7701" marR="3081" defTabSz="554492">
              <a:lnSpc>
                <a:spcPct val="103699"/>
              </a:lnSpc>
              <a:spcBef>
                <a:spcPts val="557"/>
              </a:spcBef>
            </a:pPr>
            <a:r>
              <a:rPr sz="1486" spc="18" dirty="0">
                <a:solidFill>
                  <a:srgbClr val="FFFFFF"/>
                </a:solidFill>
                <a:cs typeface="Source Sans Pro Semibold"/>
              </a:rPr>
              <a:t>As </a:t>
            </a:r>
            <a:r>
              <a:rPr sz="1486" spc="6" dirty="0">
                <a:solidFill>
                  <a:srgbClr val="FFFFFF"/>
                </a:solidFill>
                <a:cs typeface="Source Sans Pro Semibold"/>
              </a:rPr>
              <a:t>mincid molorum ad </a:t>
            </a:r>
            <a:r>
              <a:rPr sz="1486" spc="-6" dirty="0">
                <a:solidFill>
                  <a:srgbClr val="FFFFFF"/>
                </a:solidFill>
                <a:cs typeface="Source Sans Pro Semibold"/>
              </a:rPr>
              <a:t>est </a:t>
            </a:r>
            <a:r>
              <a:rPr sz="1486" spc="3" dirty="0">
                <a:solidFill>
                  <a:srgbClr val="FFFFFF"/>
                </a:solidFill>
                <a:cs typeface="Source Sans Pro Semibold"/>
              </a:rPr>
              <a:t>ipsuntione </a:t>
            </a:r>
            <a:r>
              <a:rPr sz="1486" spc="-3" dirty="0">
                <a:solidFill>
                  <a:srgbClr val="FFFFFF"/>
                </a:solidFill>
                <a:cs typeface="Source Sans Pro Semibold"/>
              </a:rPr>
              <a:t>enist, </a:t>
            </a:r>
            <a:r>
              <a:rPr sz="1486" spc="3" dirty="0">
                <a:solidFill>
                  <a:srgbClr val="FFFFFF"/>
                </a:solidFill>
                <a:cs typeface="Source Sans Pro Semibold"/>
              </a:rPr>
              <a:t>etum </a:t>
            </a:r>
            <a:r>
              <a:rPr sz="1486" spc="6" dirty="0">
                <a:solidFill>
                  <a:srgbClr val="FFFFFF"/>
                </a:solidFill>
                <a:cs typeface="Source Sans Pro Semibold"/>
              </a:rPr>
              <a:t>qui-  ant </a:t>
            </a:r>
            <a:r>
              <a:rPr sz="1486" spc="3" dirty="0">
                <a:solidFill>
                  <a:srgbClr val="FFFFFF"/>
                </a:solidFill>
                <a:cs typeface="Source Sans Pro Semibold"/>
              </a:rPr>
              <a:t>esciis erchiacus</a:t>
            </a:r>
            <a:r>
              <a:rPr sz="1486" spc="-12" dirty="0">
                <a:solidFill>
                  <a:srgbClr val="FFFFFF"/>
                </a:solidFill>
                <a:cs typeface="Source Sans Pro Semibold"/>
              </a:rPr>
              <a:t> </a:t>
            </a:r>
            <a:r>
              <a:rPr sz="1486" spc="3" dirty="0">
                <a:solidFill>
                  <a:srgbClr val="FFFFFF"/>
                </a:solidFill>
                <a:cs typeface="Source Sans Pro Semibold"/>
              </a:rPr>
              <a:t>eliqui.</a:t>
            </a:r>
            <a:endParaRPr sz="1486" dirty="0">
              <a:solidFill>
                <a:prstClr val="black"/>
              </a:solidFill>
              <a:cs typeface="Source Sans Pro Semibold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661082" y="5197628"/>
            <a:ext cx="4284228" cy="1111098"/>
          </a:xfrm>
          <a:prstGeom prst="rect">
            <a:avLst/>
          </a:prstGeom>
        </p:spPr>
        <p:txBody>
          <a:bodyPr vert="horz" wrap="square" lIns="0" tIns="35811" rIns="0" bIns="0" rtlCol="0">
            <a:noAutofit/>
          </a:bodyPr>
          <a:lstStyle/>
          <a:p>
            <a:pPr marL="7701" marR="932240" defTabSz="554492">
              <a:lnSpc>
                <a:spcPts val="2347"/>
              </a:lnSpc>
              <a:spcBef>
                <a:spcPts val="282"/>
              </a:spcBef>
            </a:pPr>
            <a:r>
              <a:rPr sz="2092" spc="3" dirty="0">
                <a:solidFill>
                  <a:srgbClr val="FFFFFF"/>
                </a:solidFill>
                <a:cs typeface="Source Sans Pro"/>
              </a:rPr>
              <a:t>Aquam, nam </a:t>
            </a:r>
            <a:r>
              <a:rPr sz="2092" spc="-3" dirty="0">
                <a:solidFill>
                  <a:srgbClr val="FFFFFF"/>
                </a:solidFill>
                <a:cs typeface="Source Sans Pro"/>
              </a:rPr>
              <a:t>rectium </a:t>
            </a:r>
            <a:r>
              <a:rPr sz="2092" spc="3" dirty="0">
                <a:solidFill>
                  <a:srgbClr val="FFFFFF"/>
                </a:solidFill>
                <a:cs typeface="Source Sans Pro"/>
              </a:rPr>
              <a:t>incia</a:t>
            </a:r>
            <a:r>
              <a:rPr sz="2092" spc="-36" dirty="0">
                <a:solidFill>
                  <a:srgbClr val="FFFFFF"/>
                </a:solidFill>
                <a:cs typeface="Source Sans Pro"/>
              </a:rPr>
              <a:t> </a:t>
            </a:r>
            <a:r>
              <a:rPr sz="2092" dirty="0">
                <a:solidFill>
                  <a:srgbClr val="FFFFFF"/>
                </a:solidFill>
                <a:cs typeface="Source Sans Pro"/>
              </a:rPr>
              <a:t>si  </a:t>
            </a:r>
            <a:r>
              <a:rPr sz="2092" spc="3" dirty="0">
                <a:solidFill>
                  <a:srgbClr val="FFFFFF"/>
                </a:solidFill>
                <a:cs typeface="Source Sans Pro"/>
              </a:rPr>
              <a:t>tiae </a:t>
            </a:r>
            <a:r>
              <a:rPr sz="2092" spc="-18" dirty="0">
                <a:solidFill>
                  <a:srgbClr val="FFFFFF"/>
                </a:solidFill>
                <a:cs typeface="Source Sans Pro"/>
              </a:rPr>
              <a:t>officte </a:t>
            </a:r>
            <a:r>
              <a:rPr sz="2092" spc="3" dirty="0">
                <a:solidFill>
                  <a:srgbClr val="FFFFFF"/>
                </a:solidFill>
                <a:cs typeface="Source Sans Pro"/>
              </a:rPr>
              <a:t>diaes</a:t>
            </a:r>
            <a:r>
              <a:rPr sz="2092" spc="6" dirty="0">
                <a:solidFill>
                  <a:srgbClr val="FFFFFF"/>
                </a:solidFill>
                <a:cs typeface="Source Sans Pro"/>
              </a:rPr>
              <a:t> </a:t>
            </a:r>
            <a:r>
              <a:rPr sz="2092" spc="-3" dirty="0">
                <a:solidFill>
                  <a:srgbClr val="FFFFFF"/>
                </a:solidFill>
                <a:cs typeface="Source Sans Pro"/>
              </a:rPr>
              <a:t>edigenis</a:t>
            </a:r>
            <a:endParaRPr sz="2092" dirty="0">
              <a:solidFill>
                <a:prstClr val="black"/>
              </a:solidFill>
              <a:cs typeface="Source Sans Pro"/>
            </a:endParaRPr>
          </a:p>
          <a:p>
            <a:pPr marL="7701" marR="3081" defTabSz="554492">
              <a:lnSpc>
                <a:spcPct val="103699"/>
              </a:lnSpc>
              <a:spcBef>
                <a:spcPts val="557"/>
              </a:spcBef>
            </a:pPr>
            <a:r>
              <a:rPr sz="1486" spc="-3" dirty="0">
                <a:solidFill>
                  <a:srgbClr val="FFFFFF"/>
                </a:solidFill>
                <a:cs typeface="Source Sans Pro Semibold"/>
              </a:rPr>
              <a:t>Dunditatetur? </a:t>
            </a:r>
            <a:r>
              <a:rPr sz="1486" spc="3" dirty="0">
                <a:solidFill>
                  <a:srgbClr val="FFFFFF"/>
                </a:solidFill>
                <a:cs typeface="Source Sans Pro Semibold"/>
              </a:rPr>
              <a:t>Borem rerum </a:t>
            </a:r>
            <a:r>
              <a:rPr sz="1486" spc="6" dirty="0">
                <a:solidFill>
                  <a:srgbClr val="FFFFFF"/>
                </a:solidFill>
                <a:cs typeface="Source Sans Pro Semibold"/>
              </a:rPr>
              <a:t>quam </a:t>
            </a:r>
            <a:r>
              <a:rPr sz="1486" spc="3" dirty="0">
                <a:solidFill>
                  <a:srgbClr val="FFFFFF"/>
                </a:solidFill>
                <a:cs typeface="Source Sans Pro Semibold"/>
              </a:rPr>
              <a:t>rem </a:t>
            </a:r>
            <a:r>
              <a:rPr sz="1486" spc="-3" dirty="0">
                <a:solidFill>
                  <a:srgbClr val="FFFFFF"/>
                </a:solidFill>
                <a:cs typeface="Source Sans Pro Semibold"/>
              </a:rPr>
              <a:t>et </a:t>
            </a:r>
            <a:r>
              <a:rPr sz="1486" spc="6" dirty="0">
                <a:solidFill>
                  <a:srgbClr val="FFFFFF"/>
                </a:solidFill>
                <a:cs typeface="Source Sans Pro Semibold"/>
              </a:rPr>
              <a:t>ad quiden-  dae ad maiorrucm</a:t>
            </a:r>
            <a:r>
              <a:rPr sz="1486" spc="-15" dirty="0">
                <a:solidFill>
                  <a:srgbClr val="FFFFFF"/>
                </a:solidFill>
                <a:cs typeface="Source Sans Pro Semibold"/>
              </a:rPr>
              <a:t> </a:t>
            </a:r>
            <a:r>
              <a:rPr sz="1486" spc="6" dirty="0">
                <a:solidFill>
                  <a:srgbClr val="FFFFFF"/>
                </a:solidFill>
                <a:cs typeface="Source Sans Pro Semibold"/>
              </a:rPr>
              <a:t>imen.</a:t>
            </a:r>
            <a:endParaRPr sz="1486" dirty="0">
              <a:solidFill>
                <a:prstClr val="black"/>
              </a:solidFill>
              <a:cs typeface="Source Sans Pro Semibold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5295989" y="5058494"/>
            <a:ext cx="1034902" cy="1163240"/>
          </a:xfrm>
          <a:prstGeom prst="rect">
            <a:avLst/>
          </a:prstGeom>
        </p:spPr>
        <p:txBody>
          <a:bodyPr vert="horz" wrap="square" lIns="0" tIns="6931" rIns="0" bIns="0" rtlCol="0">
            <a:noAutofit/>
          </a:bodyPr>
          <a:lstStyle/>
          <a:p>
            <a:pPr marL="7701" defTabSz="554492">
              <a:spcBef>
                <a:spcPts val="4462"/>
              </a:spcBef>
            </a:pPr>
            <a:r>
              <a:rPr sz="6003" spc="-3" dirty="0">
                <a:cs typeface="Bebas Neue"/>
              </a:rPr>
              <a:t>03</a:t>
            </a:r>
            <a:endParaRPr sz="6003" dirty="0">
              <a:cs typeface="Bebas Neue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740122" y="2306320"/>
            <a:ext cx="3476278" cy="4002406"/>
          </a:xfrm>
          <a:prstGeom prst="rect">
            <a:avLst/>
          </a:prstGeom>
        </p:spPr>
        <p:txBody>
          <a:bodyPr vert="horz" wrap="square" lIns="0" tIns="1155" rIns="0" bIns="0" rtlCol="0">
            <a:noAutofit/>
          </a:bodyPr>
          <a:lstStyle/>
          <a:p>
            <a:pPr marR="366196" defTabSz="554492">
              <a:lnSpc>
                <a:spcPct val="90000"/>
              </a:lnSpc>
              <a:spcBef>
                <a:spcPts val="9"/>
              </a:spcBef>
            </a:pPr>
            <a:r>
              <a:rPr lang="en-US" sz="2200" spc="6" dirty="0">
                <a:solidFill>
                  <a:srgbClr val="FFFFFF"/>
                </a:solidFill>
                <a:cs typeface="Source Sans Pro"/>
              </a:rPr>
              <a:t>Sed </a:t>
            </a:r>
            <a:r>
              <a:rPr lang="en-US" sz="2200" spc="9" dirty="0" err="1">
                <a:solidFill>
                  <a:srgbClr val="FFFFFF"/>
                </a:solidFill>
                <a:cs typeface="Source Sans Pro"/>
              </a:rPr>
              <a:t>mo</a:t>
            </a:r>
            <a:r>
              <a:rPr lang="en-US" sz="2200" spc="9" dirty="0">
                <a:solidFill>
                  <a:srgbClr val="FFFFFF"/>
                </a:solidFill>
                <a:cs typeface="Source Sans Pro"/>
              </a:rPr>
              <a:t> </a:t>
            </a:r>
            <a:r>
              <a:rPr lang="en-US" sz="2200" dirty="0">
                <a:solidFill>
                  <a:srgbClr val="FFFFFF"/>
                </a:solidFill>
                <a:cs typeface="Source Sans Pro"/>
              </a:rPr>
              <a:t>vel </a:t>
            </a:r>
            <a:r>
              <a:rPr lang="en-US" sz="2200" dirty="0" err="1">
                <a:solidFill>
                  <a:srgbClr val="FFFFFF"/>
                </a:solidFill>
                <a:cs typeface="Source Sans Pro"/>
              </a:rPr>
              <a:t>etur</a:t>
            </a:r>
            <a:r>
              <a:rPr lang="en-US" sz="2200" spc="258" dirty="0">
                <a:solidFill>
                  <a:srgbClr val="FFFFFF"/>
                </a:solidFill>
                <a:cs typeface="Source Sans Pro"/>
              </a:rPr>
              <a:t> </a:t>
            </a:r>
            <a:r>
              <a:rPr lang="en-US" sz="2200" spc="3" dirty="0" err="1">
                <a:solidFill>
                  <a:srgbClr val="FFFFFF"/>
                </a:solidFill>
                <a:cs typeface="Source Sans Pro"/>
              </a:rPr>
              <a:t>rchitibel</a:t>
            </a:r>
            <a:r>
              <a:rPr lang="en-US" sz="2200" spc="3" dirty="0">
                <a:solidFill>
                  <a:srgbClr val="FFFFFF"/>
                </a:solidFill>
                <a:cs typeface="Source Sans Pro"/>
              </a:rPr>
              <a:t>  </a:t>
            </a:r>
            <a:r>
              <a:rPr lang="en-US" sz="2200" spc="-6" dirty="0" err="1">
                <a:solidFill>
                  <a:srgbClr val="FFFFFF"/>
                </a:solidFill>
                <a:cs typeface="Source Sans Pro"/>
              </a:rPr>
              <a:t>ust</a:t>
            </a:r>
            <a:r>
              <a:rPr lang="en-US" sz="2200" spc="-6" dirty="0">
                <a:solidFill>
                  <a:srgbClr val="FFFFFF"/>
                </a:solidFill>
                <a:cs typeface="Source Sans Pro"/>
              </a:rPr>
              <a:t> </a:t>
            </a:r>
            <a:r>
              <a:rPr lang="en-US" sz="2200" spc="-3" dirty="0">
                <a:solidFill>
                  <a:srgbClr val="FFFFFF"/>
                </a:solidFill>
                <a:cs typeface="Source Sans Pro"/>
              </a:rPr>
              <a:t>et </a:t>
            </a:r>
            <a:r>
              <a:rPr lang="en-US" sz="2200" dirty="0" err="1">
                <a:solidFill>
                  <a:srgbClr val="FFFFFF"/>
                </a:solidFill>
                <a:cs typeface="Source Sans Pro"/>
              </a:rPr>
              <a:t>quatis</a:t>
            </a:r>
            <a:r>
              <a:rPr lang="en-US" sz="2200" dirty="0">
                <a:solidFill>
                  <a:srgbClr val="FFFFFF"/>
                </a:solidFill>
                <a:cs typeface="Source Sans Pro"/>
              </a:rPr>
              <a:t> </a:t>
            </a:r>
            <a:r>
              <a:rPr lang="en-US" sz="2200" spc="-3" dirty="0">
                <a:solidFill>
                  <a:srgbClr val="FFFFFF"/>
                </a:solidFill>
                <a:cs typeface="Source Sans Pro"/>
              </a:rPr>
              <a:t>re</a:t>
            </a:r>
            <a:r>
              <a:rPr lang="en-US" sz="2200" dirty="0">
                <a:solidFill>
                  <a:srgbClr val="FFFFFF"/>
                </a:solidFill>
                <a:cs typeface="Source Sans Pro"/>
              </a:rPr>
              <a:t> </a:t>
            </a:r>
            <a:r>
              <a:rPr lang="en-US" sz="2200" spc="9" dirty="0" err="1">
                <a:solidFill>
                  <a:srgbClr val="FFFFFF"/>
                </a:solidFill>
                <a:cs typeface="Source Sans Pro"/>
              </a:rPr>
              <a:t>eum</a:t>
            </a:r>
            <a:endParaRPr lang="en-US" sz="2200" dirty="0">
              <a:solidFill>
                <a:prstClr val="black"/>
              </a:solidFill>
              <a:cs typeface="Source Sans Pro"/>
            </a:endParaRPr>
          </a:p>
          <a:p>
            <a:pPr defTabSz="554492">
              <a:lnSpc>
                <a:spcPct val="90000"/>
              </a:lnSpc>
              <a:spcBef>
                <a:spcPts val="385"/>
              </a:spcBef>
            </a:pPr>
            <a:r>
              <a:rPr lang="en-US" sz="1400" spc="-3" dirty="0" err="1">
                <a:solidFill>
                  <a:srgbClr val="FFFFFF"/>
                </a:solidFill>
                <a:cs typeface="Source Sans Pro"/>
              </a:rPr>
              <a:t>Nius</a:t>
            </a:r>
            <a:r>
              <a:rPr lang="en-US" sz="1400" spc="-3" dirty="0">
                <a:solidFill>
                  <a:srgbClr val="FFFFFF"/>
                </a:solidFill>
                <a:cs typeface="Source Sans Pro"/>
              </a:rPr>
              <a:t> </a:t>
            </a:r>
            <a:r>
              <a:rPr lang="en-US" sz="1400" spc="-3" dirty="0" err="1">
                <a:solidFill>
                  <a:srgbClr val="FFFFFF"/>
                </a:solidFill>
                <a:cs typeface="Source Sans Pro"/>
              </a:rPr>
              <a:t>nsicii</a:t>
            </a:r>
            <a:r>
              <a:rPr lang="en-US" sz="1400" spc="-3" dirty="0">
                <a:solidFill>
                  <a:srgbClr val="FFFFFF"/>
                </a:solidFill>
                <a:cs typeface="Source Sans Pro"/>
              </a:rPr>
              <a:t> </a:t>
            </a:r>
            <a:r>
              <a:rPr lang="en-US" sz="1400" spc="-3" dirty="0" err="1">
                <a:solidFill>
                  <a:srgbClr val="FFFFFF"/>
                </a:solidFill>
                <a:cs typeface="Source Sans Pro"/>
              </a:rPr>
              <a:t>consilli</a:t>
            </a:r>
            <a:r>
              <a:rPr lang="en-US" sz="1400" spc="-3" dirty="0">
                <a:solidFill>
                  <a:srgbClr val="FFFFFF"/>
                </a:solidFill>
                <a:cs typeface="Source Sans Pro"/>
              </a:rPr>
              <a:t> </a:t>
            </a:r>
            <a:r>
              <a:rPr lang="en-US" sz="1400" spc="-3" dirty="0" err="1">
                <a:solidFill>
                  <a:srgbClr val="FFFFFF"/>
                </a:solidFill>
                <a:cs typeface="Source Sans Pro"/>
              </a:rPr>
              <a:t>nonsimilicae</a:t>
            </a:r>
            <a:r>
              <a:rPr lang="en-US" sz="1400" spc="-3" dirty="0">
                <a:solidFill>
                  <a:srgbClr val="FFFFFF"/>
                </a:solidFill>
                <a:cs typeface="Source Sans Pro"/>
              </a:rPr>
              <a:t> lor </a:t>
            </a:r>
            <a:r>
              <a:rPr lang="en-US" sz="1400" spc="-3" dirty="0" err="1">
                <a:solidFill>
                  <a:srgbClr val="FFFFFF"/>
                </a:solidFill>
                <a:cs typeface="Source Sans Pro"/>
              </a:rPr>
              <a:t>iioremen</a:t>
            </a:r>
            <a:r>
              <a:rPr lang="en-US" sz="1400" dirty="0">
                <a:solidFill>
                  <a:srgbClr val="FFFFFF"/>
                </a:solidFill>
                <a:cs typeface="Source Sans Pro"/>
              </a:rPr>
              <a:t> </a:t>
            </a:r>
            <a:r>
              <a:rPr lang="en-US" sz="1400" spc="-3" dirty="0" err="1">
                <a:solidFill>
                  <a:srgbClr val="FFFFFF"/>
                </a:solidFill>
                <a:cs typeface="Source Sans Pro"/>
              </a:rPr>
              <a:t>loremu</a:t>
            </a:r>
            <a:endParaRPr lang="en-US" sz="1400" dirty="0">
              <a:solidFill>
                <a:prstClr val="black"/>
              </a:solidFill>
              <a:cs typeface="Source Sans Pro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20B4C67-DF0A-EB3E-6DCB-413FF65FFBC0}"/>
              </a:ext>
            </a:extLst>
          </p:cNvPr>
          <p:cNvSpPr txBox="1"/>
          <p:nvPr/>
        </p:nvSpPr>
        <p:spPr>
          <a:xfrm>
            <a:off x="5276939" y="2065284"/>
            <a:ext cx="1034902" cy="86349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7701" defTabSz="554492">
              <a:spcBef>
                <a:spcPts val="55"/>
              </a:spcBef>
            </a:pPr>
            <a:r>
              <a:rPr lang="ru-RU" sz="6000" spc="-3" dirty="0">
                <a:cs typeface="Bebas Neue"/>
              </a:rPr>
              <a:t>01</a:t>
            </a:r>
            <a:endParaRPr lang="ru-RU" sz="6000" dirty="0">
              <a:cs typeface="Bebas Neue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60E3A87-A2AF-A5B4-88A9-EB1A210E8579}"/>
              </a:ext>
            </a:extLst>
          </p:cNvPr>
          <p:cNvSpPr txBox="1"/>
          <p:nvPr/>
        </p:nvSpPr>
        <p:spPr>
          <a:xfrm>
            <a:off x="5203910" y="3456381"/>
            <a:ext cx="1034902" cy="1061482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7701" defTabSz="554492">
              <a:spcBef>
                <a:spcPts val="4466"/>
              </a:spcBef>
            </a:pPr>
            <a:r>
              <a:rPr lang="ru-RU" sz="6000" spc="-3" dirty="0">
                <a:cs typeface="Bebas Neue"/>
              </a:rPr>
              <a:t>02</a:t>
            </a:r>
            <a:endParaRPr lang="ru-RU" sz="6000" dirty="0">
              <a:cs typeface="Bebas Neue"/>
            </a:endParaRPr>
          </a:p>
        </p:txBody>
      </p:sp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B0674C49-83C7-62F8-DE8B-470616CC0377}"/>
              </a:ext>
            </a:extLst>
          </p:cNvPr>
          <p:cNvSpPr txBox="1">
            <a:spLocks/>
          </p:cNvSpPr>
          <p:nvPr/>
        </p:nvSpPr>
        <p:spPr>
          <a:xfrm>
            <a:off x="9458037" y="6356351"/>
            <a:ext cx="2142833" cy="365125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00">
              <a:defRPr/>
            </a:pPr>
            <a:r>
              <a:rPr lang="ru-RU">
                <a:solidFill>
                  <a:srgbClr val="FFFFFF"/>
                </a:solidFill>
              </a:rPr>
              <a:t>Школа Летово</a:t>
            </a:r>
            <a:r>
              <a:rPr lang="en-US">
                <a:solidFill>
                  <a:srgbClr val="FFFFFF"/>
                </a:solidFill>
              </a:rPr>
              <a:t>   |   </a:t>
            </a:r>
            <a:fld id="{3FF7ECCA-52A6-EE4C-AA7E-82FCFCDACFE6}" type="slidenum">
              <a:rPr lang="ru-RU" smtClean="0">
                <a:solidFill>
                  <a:srgbClr val="FFFFFF"/>
                </a:solidFill>
              </a:rPr>
              <a:pPr algn="r" defTabSz="914300">
                <a:defRPr/>
              </a:pPr>
              <a:t>8</a:t>
            </a:fld>
            <a:endParaRPr lang="ru-RU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9584E4-467E-C4B8-1BA8-81AF803128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8300"/>
            <a:ext cx="11285537" cy="88582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D5432D5-C5A2-D84D-A48D-C3C8F39B791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>
              <a:lnSpc>
                <a:spcPct val="40000"/>
              </a:lnSpc>
            </a:pPr>
            <a:endParaRPr lang="ru-RU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B35ED23A-CB4C-6DE5-6C33-B9B3BEC938A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pPr>
              <a:lnSpc>
                <a:spcPct val="40000"/>
              </a:lnSpc>
            </a:pPr>
            <a:endParaRPr lang="ru-RU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C4E337BA-8E8E-2DEE-1746-8E6503B3826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>
              <a:lnSpc>
                <a:spcPct val="40000"/>
              </a:lnSpc>
            </a:pPr>
            <a:endParaRPr lang="ru-RU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4AEB7D36-8FF6-FFBF-7A23-29F28D763E1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pPr>
              <a:lnSpc>
                <a:spcPct val="40000"/>
              </a:lnSpc>
            </a:pPr>
            <a:endParaRPr lang="ru-RU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C3DBB774-5110-BC45-1746-9252AF1301C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pPr>
              <a:lnSpc>
                <a:spcPct val="40000"/>
              </a:lnSpc>
            </a:pPr>
            <a:endParaRPr lang="ru-RU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C5A398CE-E8B8-6A1E-EC38-15108778736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92687" y="5951923"/>
            <a:ext cx="3426967" cy="325677"/>
          </a:xfrm>
        </p:spPr>
        <p:txBody>
          <a:bodyPr/>
          <a:lstStyle/>
          <a:p>
            <a:pPr>
              <a:lnSpc>
                <a:spcPct val="40000"/>
              </a:lnSpc>
            </a:pPr>
            <a:endParaRPr lang="ru-RU" dirty="0"/>
          </a:p>
        </p:txBody>
      </p:sp>
      <p:sp>
        <p:nvSpPr>
          <p:cNvPr id="4" name="Рисунок 3">
            <a:extLst>
              <a:ext uri="{FF2B5EF4-FFF2-40B4-BE49-F238E27FC236}">
                <a16:creationId xmlns:a16="http://schemas.microsoft.com/office/drawing/2014/main" id="{49577203-98B4-48FE-A304-9AFC94CE387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6" name="Рисунок 5">
            <a:extLst>
              <a:ext uri="{FF2B5EF4-FFF2-40B4-BE49-F238E27FC236}">
                <a16:creationId xmlns:a16="http://schemas.microsoft.com/office/drawing/2014/main" id="{DB0538B2-63B1-40DA-933F-9457028E826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8" name="Рисунок 7">
            <a:extLst>
              <a:ext uri="{FF2B5EF4-FFF2-40B4-BE49-F238E27FC236}">
                <a16:creationId xmlns:a16="http://schemas.microsoft.com/office/drawing/2014/main" id="{B136B4E8-825E-450D-AEAA-11BFE1E650B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4D0F18B4-BAD5-4A43-B33F-9DCD9C94B9F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4390DF3E-8309-4F41-A91C-9BFE50FC6BF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</p:sp>
      <p:sp>
        <p:nvSpPr>
          <p:cNvPr id="19" name="Рисунок 18">
            <a:extLst>
              <a:ext uri="{FF2B5EF4-FFF2-40B4-BE49-F238E27FC236}">
                <a16:creationId xmlns:a16="http://schemas.microsoft.com/office/drawing/2014/main" id="{83C76D05-D07D-4876-BB51-194D101729B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</p:sp>
    </p:spTree>
    <p:extLst>
      <p:ext uri="{BB962C8B-B14F-4D97-AF65-F5344CB8AC3E}">
        <p14:creationId xmlns:p14="http://schemas.microsoft.com/office/powerpoint/2010/main" val="24304984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Letovo">
      <a:dk1>
        <a:srgbClr val="0D3174"/>
      </a:dk1>
      <a:lt1>
        <a:srgbClr val="FFFFFF"/>
      </a:lt1>
      <a:dk2>
        <a:srgbClr val="000000"/>
      </a:dk2>
      <a:lt2>
        <a:srgbClr val="B2B2B2"/>
      </a:lt2>
      <a:accent1>
        <a:srgbClr val="00ADB9"/>
      </a:accent1>
      <a:accent2>
        <a:srgbClr val="FDC300"/>
      </a:accent2>
      <a:accent3>
        <a:srgbClr val="00818A"/>
      </a:accent3>
      <a:accent4>
        <a:srgbClr val="858585"/>
      </a:accent4>
      <a:accent5>
        <a:srgbClr val="A1003E"/>
      </a:accent5>
      <a:accent6>
        <a:srgbClr val="E10056"/>
      </a:accent6>
      <a:hlink>
        <a:srgbClr val="0000FF"/>
      </a:hlink>
      <a:folHlink>
        <a:srgbClr val="FF00FF"/>
      </a:folHlink>
    </a:clrScheme>
    <a:fontScheme name="LETOVO">
      <a:majorFont>
        <a:latin typeface="Segoe UI"/>
        <a:ea typeface=""/>
        <a:cs typeface=""/>
      </a:majorFont>
      <a:minorFont>
        <a:latin typeface="Segoe UI Light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ServiceKeyPoints xmlns="71af3243-3dd4-4a8d-8c0d-dd76da1f02a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11" ma:contentTypeDescription="Create a new document." ma:contentTypeScope="" ma:versionID="9677210f24a1be23c92c90fd886aa0aa">
  <xsd:schema xmlns:xsd="http://www.w3.org/2001/XMLSchema" xmlns:xs="http://www.w3.org/2001/XMLSchema" xmlns:p="http://schemas.microsoft.com/office/2006/metadata/properties" xmlns:ns2="71af3243-3dd4-4a8d-8c0d-dd76da1f02a5" xmlns:ns3="16c05727-aa75-4e4a-9b5f-8a80a1165891" targetNamespace="http://schemas.microsoft.com/office/2006/metadata/properties" ma:root="true" ma:fieldsID="60e05723c5c1908df1a1a4ebf11d344e" ns2:_="" ns3:_="">
    <xsd:import namespace="71af3243-3dd4-4a8d-8c0d-dd76da1f02a5"/>
    <xsd:import namespace="16c05727-aa75-4e4a-9b5f-8a80a1165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C118CE8-9293-4220-BA3B-5D353B13ABC9}">
  <ds:schemaRefs>
    <ds:schemaRef ds:uri="http://purl.org/dc/elements/1.1/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16c05727-aa75-4e4a-9b5f-8a80a1165891"/>
    <ds:schemaRef ds:uri="71af3243-3dd4-4a8d-8c0d-dd76da1f02a5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A2DDA16B-F3AC-4A5B-9F5F-6F5A8F47A9E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426FE2C-7640-4BF0-9D68-FDFD4151FD5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af3243-3dd4-4a8d-8c0d-dd76da1f02a5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90</Words>
  <Application>Microsoft Office PowerPoint</Application>
  <PresentationFormat>Широкоэкранный</PresentationFormat>
  <Paragraphs>408</Paragraphs>
  <Slides>62</Slides>
  <Notes>4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2</vt:i4>
      </vt:variant>
    </vt:vector>
  </HeadingPairs>
  <TitlesOfParts>
    <vt:vector size="76" baseType="lpstr">
      <vt:lpstr>Arial</vt:lpstr>
      <vt:lpstr>Bebas Neue</vt:lpstr>
      <vt:lpstr>Courier New</vt:lpstr>
      <vt:lpstr>Segoe UI</vt:lpstr>
      <vt:lpstr>Segoe UI Light</vt:lpstr>
      <vt:lpstr>Segoe UI Semibold</vt:lpstr>
      <vt:lpstr>Segoe UI Semilight</vt:lpstr>
      <vt:lpstr>Source Sans Pro</vt:lpstr>
      <vt:lpstr>Source Sans Pro Semibold</vt:lpstr>
      <vt:lpstr>Wide Latin</vt:lpstr>
      <vt:lpstr>Wingdings</vt:lpstr>
      <vt:lpstr>Wingdings 2</vt:lpstr>
      <vt:lpstr>Тема Office</vt:lpstr>
      <vt:lpstr>Слайд think-cell</vt:lpstr>
      <vt:lpstr>Любят ли учиться шмели?</vt:lpstr>
      <vt:lpstr>Презентация PowerPoint</vt:lpstr>
      <vt:lpstr>Цели проекта</vt:lpstr>
      <vt:lpstr>Почему обучение шмелей – это важно</vt:lpstr>
      <vt:lpstr>Методы и ход проекта</vt:lpstr>
      <vt:lpstr>Результаты и выводы</vt:lpstr>
      <vt:lpstr>Заголовок в 2 строки  Заголовок в 2 строк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Click to edit Master title style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5-07T19:15:59Z</dcterms:created>
  <dcterms:modified xsi:type="dcterms:W3CDTF">2025-06-20T11:32:58Z</dcterms:modified>
</cp:coreProperties>
</file>